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7.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1.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2.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726" r:id="rId3"/>
    <p:sldMasterId id="2147483753" r:id="rId4"/>
    <p:sldMasterId id="2147483792" r:id="rId5"/>
    <p:sldMasterId id="2147483830" r:id="rId6"/>
    <p:sldMasterId id="2147483850" r:id="rId7"/>
    <p:sldMasterId id="2147483890" r:id="rId8"/>
    <p:sldMasterId id="2147483929" r:id="rId9"/>
    <p:sldMasterId id="2147483949" r:id="rId10"/>
    <p:sldMasterId id="2147483991" r:id="rId11"/>
    <p:sldMasterId id="2147484011" r:id="rId12"/>
    <p:sldMasterId id="2147484033" r:id="rId13"/>
  </p:sldMasterIdLst>
  <p:notesMasterIdLst>
    <p:notesMasterId r:id="rId33"/>
  </p:notesMasterIdLst>
  <p:sldIdLst>
    <p:sldId id="307" r:id="rId14"/>
    <p:sldId id="381" r:id="rId15"/>
    <p:sldId id="382" r:id="rId16"/>
    <p:sldId id="383" r:id="rId17"/>
    <p:sldId id="384" r:id="rId18"/>
    <p:sldId id="385" r:id="rId19"/>
    <p:sldId id="386" r:id="rId20"/>
    <p:sldId id="387" r:id="rId21"/>
    <p:sldId id="388" r:id="rId22"/>
    <p:sldId id="389" r:id="rId23"/>
    <p:sldId id="390" r:id="rId24"/>
    <p:sldId id="393" r:id="rId25"/>
    <p:sldId id="394" r:id="rId26"/>
    <p:sldId id="395" r:id="rId27"/>
    <p:sldId id="396" r:id="rId28"/>
    <p:sldId id="397" r:id="rId29"/>
    <p:sldId id="401" r:id="rId30"/>
    <p:sldId id="402" r:id="rId31"/>
    <p:sldId id="306" r:id="rId32"/>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375"/>
  </p:normalViewPr>
  <p:slideViewPr>
    <p:cSldViewPr snapToGrid="0">
      <p:cViewPr varScale="1">
        <p:scale>
          <a:sx n="85" d="100"/>
          <a:sy n="85" d="100"/>
        </p:scale>
        <p:origin x="74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75960A-D44A-42B2-8441-0A8663608A65}" type="datetimeFigureOut">
              <a:rPr lang="ko-KR" altLang="en-US" smtClean="0"/>
              <a:t>2016-09-22</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CF41AF-D08C-404F-9486-E4523F25AFF5}" type="slidenum">
              <a:rPr lang="ko-KR" altLang="en-US" smtClean="0"/>
              <a:t>‹#›</a:t>
            </a:fld>
            <a:endParaRPr lang="ko-KR" altLang="en-US"/>
          </a:p>
        </p:txBody>
      </p:sp>
    </p:spTree>
    <p:extLst>
      <p:ext uri="{BB962C8B-B14F-4D97-AF65-F5344CB8AC3E}">
        <p14:creationId xmlns:p14="http://schemas.microsoft.com/office/powerpoint/2010/main" val="136331259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dirty="0"/>
              <a:t>안녕하세요 </a:t>
            </a:r>
            <a:r>
              <a:rPr lang="ko-KR" altLang="en-US" dirty="0" err="1"/>
              <a:t>테크니컬</a:t>
            </a:r>
            <a:r>
              <a:rPr lang="ko-KR" altLang="en-US" dirty="0"/>
              <a:t> </a:t>
            </a:r>
            <a:r>
              <a:rPr lang="ko-KR" altLang="en-US" dirty="0" err="1"/>
              <a:t>에반젤리스트</a:t>
            </a:r>
            <a:r>
              <a:rPr lang="ko-KR" altLang="en-US" dirty="0"/>
              <a:t> 김영욱입니다</a:t>
            </a:r>
            <a:r>
              <a:rPr lang="en-US" altLang="ko-KR" dirty="0"/>
              <a:t>. </a:t>
            </a:r>
          </a:p>
          <a:p>
            <a:r>
              <a:rPr lang="ko-KR" altLang="en-US" dirty="0"/>
              <a:t>평소에는 윈도우와 </a:t>
            </a:r>
            <a:r>
              <a:rPr lang="ko-KR" altLang="en-US" dirty="0" err="1"/>
              <a:t>전쟁사</a:t>
            </a:r>
            <a:r>
              <a:rPr lang="ko-KR" altLang="en-US" dirty="0"/>
              <a:t> 이야기를 많이 하고 있지만 최근에는 사물 인터넷 이야기를 많이 </a:t>
            </a:r>
            <a:r>
              <a:rPr lang="ko-KR" altLang="en-US" dirty="0" err="1"/>
              <a:t>하게됩니다</a:t>
            </a:r>
            <a:r>
              <a:rPr lang="en-US" altLang="ko-KR" dirty="0"/>
              <a:t>. </a:t>
            </a:r>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1</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991157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1E6A88B-A17D-42BC-92B5-A1E5F77DC878}"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815083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1E6A88B-A17D-42BC-92B5-A1E5F77DC878}"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893726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22/2016 9:1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75750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3680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61364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5178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905880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19</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353532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152140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6996B83-60CF-42A8-BA06-F99D0BEC30B3}" type="datetime1">
              <a:rPr lang="en-US" smtClean="0">
                <a:solidFill>
                  <a:prstClr val="black"/>
                </a:solidFill>
              </a:rPr>
              <a:pPr/>
              <a:t>9/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dirty="0">
                <a:solidFill>
                  <a:prstClr val="black"/>
                </a:solidFill>
              </a:rPr>
              <a:t>Build 2014</a:t>
            </a:r>
          </a:p>
        </p:txBody>
      </p:sp>
    </p:spTree>
    <p:extLst>
      <p:ext uri="{BB962C8B-B14F-4D97-AF65-F5344CB8AC3E}">
        <p14:creationId xmlns:p14="http://schemas.microsoft.com/office/powerpoint/2010/main" val="1804158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146563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1833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130755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41839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208543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26907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6.xml"/><Relationship Id="rId4" Type="http://schemas.openxmlformats.org/officeDocument/2006/relationships/image" Target="../media/image29.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4.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43.png"/><Relationship Id="rId14" Type="http://schemas.openxmlformats.org/officeDocument/2006/relationships/image" Target="../media/image41.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3.jp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8.xml"/><Relationship Id="rId4" Type="http://schemas.openxmlformats.org/officeDocument/2006/relationships/image" Target="../media/image4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1.emf"/><Relationship Id="rId5" Type="http://schemas.openxmlformats.org/officeDocument/2006/relationships/oleObject" Target="../embeddings/oleObject3.bin"/><Relationship Id="rId4" Type="http://schemas.openxmlformats.org/officeDocument/2006/relationships/image" Target="../media/image62.png"/></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1.emf"/><Relationship Id="rId5" Type="http://schemas.openxmlformats.org/officeDocument/2006/relationships/oleObject" Target="../embeddings/oleObject4.bin"/><Relationship Id="rId4" Type="http://schemas.openxmlformats.org/officeDocument/2006/relationships/image" Target="../media/image64.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1.emf"/><Relationship Id="rId5" Type="http://schemas.openxmlformats.org/officeDocument/2006/relationships/oleObject" Target="../embeddings/oleObject5.bin"/><Relationship Id="rId4" Type="http://schemas.openxmlformats.org/officeDocument/2006/relationships/image" Target="../media/image6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1.emf"/><Relationship Id="rId5" Type="http://schemas.openxmlformats.org/officeDocument/2006/relationships/oleObject" Target="../embeddings/oleObject6.bin"/><Relationship Id="rId4" Type="http://schemas.openxmlformats.org/officeDocument/2006/relationships/image" Target="../media/image62.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1.emf"/><Relationship Id="rId5" Type="http://schemas.openxmlformats.org/officeDocument/2006/relationships/oleObject" Target="../embeddings/oleObject7.bin"/><Relationship Id="rId4" Type="http://schemas.openxmlformats.org/officeDocument/2006/relationships/image" Target="../media/image66.png"/></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1.emf"/><Relationship Id="rId5" Type="http://schemas.openxmlformats.org/officeDocument/2006/relationships/oleObject" Target="../embeddings/oleObject8.bin"/><Relationship Id="rId4" Type="http://schemas.openxmlformats.org/officeDocument/2006/relationships/image" Target="../media/image67.png"/></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1.emf"/><Relationship Id="rId5" Type="http://schemas.openxmlformats.org/officeDocument/2006/relationships/oleObject" Target="../embeddings/oleObject9.bin"/><Relationship Id="rId4" Type="http://schemas.openxmlformats.org/officeDocument/2006/relationships/image" Target="../media/image68.pn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1.emf"/><Relationship Id="rId5" Type="http://schemas.openxmlformats.org/officeDocument/2006/relationships/oleObject" Target="../embeddings/oleObject10.bin"/><Relationship Id="rId4" Type="http://schemas.openxmlformats.org/officeDocument/2006/relationships/image" Target="../media/image69.png"/></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12.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1.emf"/><Relationship Id="rId5" Type="http://schemas.openxmlformats.org/officeDocument/2006/relationships/oleObject" Target="../embeddings/oleObject11.bin"/><Relationship Id="rId4"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10.xml"/><Relationship Id="rId5" Type="http://schemas.openxmlformats.org/officeDocument/2006/relationships/hyperlink" Target="http://msdevcon.ru/" TargetMode="External"/><Relationship Id="rId4" Type="http://schemas.openxmlformats.org/officeDocument/2006/relationships/image" Target="../media/image72.png"/></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g"/><Relationship Id="rId1" Type="http://schemas.openxmlformats.org/officeDocument/2006/relationships/slideMaster" Target="../slideMasters/slideMaster11.xml"/><Relationship Id="rId4" Type="http://schemas.microsoft.com/office/2007/relationships/hdphoto" Target="../media/hdphoto3.wdp"/></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7.png"/><Relationship Id="rId1" Type="http://schemas.openxmlformats.org/officeDocument/2006/relationships/slideMaster" Target="../slideMasters/slideMaster11.xml"/><Relationship Id="rId4" Type="http://schemas.microsoft.com/office/2007/relationships/hdphoto" Target="../media/hdphoto4.wdp"/></Relationships>
</file>

<file path=ppt/slideLayouts/_rels/slideLayout24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g"/><Relationship Id="rId1" Type="http://schemas.openxmlformats.org/officeDocument/2006/relationships/slideMaster" Target="../slideMasters/slideMaster11.xml"/><Relationship Id="rId4" Type="http://schemas.microsoft.com/office/2007/relationships/hdphoto" Target="../media/hdphoto3.wdp"/></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g"/><Relationship Id="rId1" Type="http://schemas.openxmlformats.org/officeDocument/2006/relationships/slideMaster" Target="../slideMasters/slideMaster11.xml"/><Relationship Id="rId6" Type="http://schemas.microsoft.com/office/2007/relationships/hdphoto" Target="../media/hdphoto3.wdp"/><Relationship Id="rId5" Type="http://schemas.openxmlformats.org/officeDocument/2006/relationships/image" Target="../media/image79.png"/><Relationship Id="rId4" Type="http://schemas.microsoft.com/office/2007/relationships/hdphoto" Target="../media/hdphoto5.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2.xml"/><Relationship Id="rId4" Type="http://schemas.openxmlformats.org/officeDocument/2006/relationships/image" Target="../media/image29.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88.emf"/><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411569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62542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3567225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590667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7112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10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0280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68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196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116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067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2008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7959422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16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1371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1210049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665367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6613" r="20858" b="9535"/>
          <a:stretch/>
        </p:blipFill>
        <p:spPr>
          <a:xfrm>
            <a:off x="2" y="-1"/>
            <a:ext cx="12191999" cy="6858001"/>
          </a:xfrm>
          <a:prstGeom prst="rect">
            <a:avLst/>
          </a:prstGeom>
        </p:spPr>
      </p:pic>
      <p:sp>
        <p:nvSpPr>
          <p:cNvPr id="8" name="Rectangle 7"/>
          <p:cNvSpPr/>
          <p:nvPr userDrawn="1"/>
        </p:nvSpPr>
        <p:spPr bwMode="gray">
          <a:xfrm>
            <a:off x="269239" y="2084173"/>
            <a:ext cx="7171383" cy="2689640"/>
          </a:xfrm>
          <a:prstGeom prst="rect">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9"/>
          <p:cNvSpPr>
            <a:spLocks noGrp="1"/>
          </p:cNvSpPr>
          <p:nvPr>
            <p:ph type="title"/>
          </p:nvPr>
        </p:nvSpPr>
        <p:spPr>
          <a:xfrm>
            <a:off x="267682" y="2082469"/>
            <a:ext cx="7172940" cy="1884456"/>
          </a:xfrm>
        </p:spPr>
        <p:txBody>
          <a:bodyPr/>
          <a:lstStyle/>
          <a:p>
            <a:r>
              <a:rPr lang="en-US" dirty="0"/>
              <a:t>Hardware presentation title goes he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12" name="Picture 11" descr="summit-sign_lockup_RGB_event_name-0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302" y="4764474"/>
            <a:ext cx="1792850" cy="1793104"/>
          </a:xfrm>
          <a:prstGeom prst="rect">
            <a:avLst/>
          </a:prstGeom>
        </p:spPr>
      </p:pic>
    </p:spTree>
    <p:extLst>
      <p:ext uri="{BB962C8B-B14F-4D97-AF65-F5344CB8AC3E}">
        <p14:creationId xmlns:p14="http://schemas.microsoft.com/office/powerpoint/2010/main" val="4082363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511878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193073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8669602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69651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93639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13073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6DC2E9"/>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6526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6680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0871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93161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847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53633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806466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127601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0095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a:t>Click to edit master title style</a:t>
            </a:r>
          </a:p>
        </p:txBody>
      </p:sp>
    </p:spTree>
    <p:extLst>
      <p:ext uri="{BB962C8B-B14F-4D97-AF65-F5344CB8AC3E}">
        <p14:creationId xmlns:p14="http://schemas.microsoft.com/office/powerpoint/2010/main" val="359328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68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782752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lide Photo">
    <p:bg>
      <p:bgPr>
        <a:solidFill>
          <a:srgbClr val="00B29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42627" y="0"/>
            <a:ext cx="6857664" cy="6858000"/>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0346542" y="4146245"/>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6349032" y="1709207"/>
            <a:ext cx="733926" cy="861876"/>
          </a:xfrm>
          <a:prstGeom prst="rect">
            <a:avLst/>
          </a:prstGeom>
        </p:spPr>
      </p:pic>
      <p:grpSp>
        <p:nvGrpSpPr>
          <p:cNvPr id="20" name="Group 19"/>
          <p:cNvGrpSpPr/>
          <p:nvPr userDrawn="1"/>
        </p:nvGrpSpPr>
        <p:grpSpPr>
          <a:xfrm>
            <a:off x="7621556" y="4620679"/>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0720505" y="1992531"/>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91937" y="979099"/>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463621" y="578757"/>
            <a:ext cx="567728" cy="567808"/>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6719836" y="4144666"/>
            <a:ext cx="758444" cy="401975"/>
          </a:xfrm>
          <a:prstGeom prst="rect">
            <a:avLst/>
          </a:prstGeom>
          <a:noFill/>
          <a:extLst/>
        </p:spPr>
      </p:pic>
      <p:pic>
        <p:nvPicPr>
          <p:cNvPr id="31" name="Picture 2">
            <a:hlinkClick r:id="rId11"/>
          </p:cNvPr>
          <p:cNvPicPr>
            <a:picLocks noChangeAspect="1" noChangeArrowheads="1"/>
          </p:cNvPicPr>
          <p:nvPr userDrawn="1"/>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216053" y="1070381"/>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9711462" y="4620679"/>
            <a:ext cx="375449" cy="690611"/>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435694" y="622181"/>
            <a:ext cx="1774792" cy="408332"/>
          </a:xfrm>
          <a:prstGeom prst="rect">
            <a:avLst/>
          </a:prstGeom>
        </p:spPr>
      </p:pic>
      <p:sp>
        <p:nvSpPr>
          <p:cNvPr id="24" name="Oval 23"/>
          <p:cNvSpPr/>
          <p:nvPr userDrawn="1"/>
        </p:nvSpPr>
        <p:spPr bwMode="auto">
          <a:xfrm>
            <a:off x="7282718" y="1376290"/>
            <a:ext cx="3181612" cy="3182063"/>
          </a:xfrm>
          <a:prstGeom prst="ellipse">
            <a:avLst/>
          </a:prstGeom>
          <a:noFill/>
          <a:ln w="57150" cap="rnd">
            <a:solidFill>
              <a:srgbClr val="6DC2E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663995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706315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470067"/>
            <a:ext cx="1517768" cy="326167"/>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84485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69115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45299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039075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5" name="Freeform 4"/>
          <p:cNvSpPr>
            <a:spLocks noChangeAspect="1" noEditPoints="1"/>
          </p:cNvSpPr>
          <p:nvPr userDrawn="1"/>
        </p:nvSpPr>
        <p:spPr bwMode="auto">
          <a:xfrm>
            <a:off x="-342355" y="5031788"/>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20301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24171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4240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343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47435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3523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056685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15206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74230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873304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72356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51621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30332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73939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317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10737396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7387826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352718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249426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051059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3434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946085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3929794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554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83002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69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17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62685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6879"/>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1128258"/>
          </a:xfrm>
        </p:spPr>
        <p:txBody>
          <a:bodyPr/>
          <a:lstStyle>
            <a:lvl1pPr marL="0" indent="0">
              <a:spcBef>
                <a:spcPts val="0"/>
              </a:spcBef>
              <a:spcAft>
                <a:spcPts val="900"/>
              </a:spcAft>
              <a:buNone/>
              <a:defRPr sz="4019" spc="-100" baseline="0">
                <a:latin typeface="Segoe UI Light" pitchFamily="34" charset="0"/>
              </a:defRPr>
            </a:lvl1pPr>
            <a:lvl2pPr marL="0" indent="0">
              <a:spcBef>
                <a:spcPts val="0"/>
              </a:spcBef>
              <a:spcAft>
                <a:spcPts val="400"/>
              </a:spcAft>
              <a:buNone/>
              <a:defRPr sz="1961" spc="-50" baseline="0"/>
            </a:lvl2pPr>
            <a:lvl3pPr marL="0" indent="0">
              <a:spcBef>
                <a:spcPts val="0"/>
              </a:spcBef>
              <a:spcAft>
                <a:spcPts val="400"/>
              </a:spcAft>
              <a:buNone/>
              <a:defRPr sz="1961"/>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167024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7"/>
            <a:ext cx="10363199"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727700"/>
          </a:xfrm>
        </p:spPr>
        <p:txBody>
          <a:bodyPr/>
          <a:lstStyle>
            <a:lvl1pPr marL="0" indent="0" algn="ctr">
              <a:buNone/>
              <a:defRPr>
                <a:solidFill>
                  <a:schemeClr val="tx1">
                    <a:tint val="75000"/>
                  </a:schemeClr>
                </a:solidFill>
              </a:defRPr>
            </a:lvl1pPr>
            <a:lvl2pPr marL="609376" indent="0" algn="ctr">
              <a:buNone/>
              <a:defRPr>
                <a:solidFill>
                  <a:schemeClr val="tx1">
                    <a:tint val="75000"/>
                  </a:schemeClr>
                </a:solidFill>
              </a:defRPr>
            </a:lvl2pPr>
            <a:lvl3pPr marL="1218753" indent="0" algn="ctr">
              <a:buNone/>
              <a:defRPr>
                <a:solidFill>
                  <a:schemeClr val="tx1">
                    <a:tint val="75000"/>
                  </a:schemeClr>
                </a:solidFill>
              </a:defRPr>
            </a:lvl3pPr>
            <a:lvl4pPr marL="1828129" indent="0" algn="ctr">
              <a:buNone/>
              <a:defRPr>
                <a:solidFill>
                  <a:schemeClr val="tx1">
                    <a:tint val="75000"/>
                  </a:schemeClr>
                </a:solidFill>
              </a:defRPr>
            </a:lvl4pPr>
            <a:lvl5pPr marL="2437505" indent="0" algn="ctr">
              <a:buNone/>
              <a:defRPr>
                <a:solidFill>
                  <a:schemeClr val="tx1">
                    <a:tint val="75000"/>
                  </a:schemeClr>
                </a:solidFill>
              </a:defRPr>
            </a:lvl5pPr>
            <a:lvl6pPr marL="3046882" indent="0" algn="ctr">
              <a:buNone/>
              <a:defRPr>
                <a:solidFill>
                  <a:schemeClr val="tx1">
                    <a:tint val="75000"/>
                  </a:schemeClr>
                </a:solidFill>
              </a:defRPr>
            </a:lvl6pPr>
            <a:lvl7pPr marL="3656258" indent="0" algn="ctr">
              <a:buNone/>
              <a:defRPr>
                <a:solidFill>
                  <a:schemeClr val="tx1">
                    <a:tint val="75000"/>
                  </a:schemeClr>
                </a:solidFill>
              </a:defRPr>
            </a:lvl7pPr>
            <a:lvl8pPr marL="4265633" indent="0" algn="ctr">
              <a:buNone/>
              <a:defRPr>
                <a:solidFill>
                  <a:schemeClr val="tx1">
                    <a:tint val="75000"/>
                  </a:schemeClr>
                </a:solidFill>
              </a:defRPr>
            </a:lvl8pPr>
            <a:lvl9pPr marL="487501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444068A-B0CA-4F3C-903F-80F1D76494BA}" type="datetimeFigureOut">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9/22/2016</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a:xfrm>
            <a:off x="4165600" y="6356352"/>
            <a:ext cx="3860801"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701E7D42-A4D6-4952-B574-12107F8FBC2E}" type="slidenum">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6512284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7_Text Slide Full Magenta">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en-US"/>
              <a:t>Click to edit Master title style</a:t>
            </a:r>
          </a:p>
        </p:txBody>
      </p:sp>
      <p:sp>
        <p:nvSpPr>
          <p:cNvPr id="3" name="Slide Number Placeholder 2"/>
          <p:cNvSpPr>
            <a:spLocks noGrp="1"/>
          </p:cNvSpPr>
          <p:nvPr>
            <p:ph type="sldNum" sz="quarter" idx="10"/>
          </p:nvPr>
        </p:nvSpPr>
        <p:spPr>
          <a:xfrm>
            <a:off x="269238" y="6448425"/>
            <a:ext cx="452438" cy="27305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A71FF1B1-EC3B-294C-9558-D3EB467AF703}"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Content Placeholder 4"/>
          <p:cNvSpPr>
            <a:spLocks noGrp="1"/>
          </p:cNvSpPr>
          <p:nvPr>
            <p:ph sz="quarter" idx="11"/>
          </p:nvPr>
        </p:nvSpPr>
        <p:spPr>
          <a:xfrm>
            <a:off x="233904" y="1446382"/>
            <a:ext cx="11380577" cy="1484765"/>
          </a:xfrm>
        </p:spPr>
        <p:txBody>
          <a:bodyPr>
            <a:spAutoFit/>
          </a:bodyPr>
          <a:lstStyle>
            <a:lvl1pPr>
              <a:spcBef>
                <a:spcPts val="1200"/>
              </a:spcBef>
              <a:defRPr>
                <a:solidFill>
                  <a:schemeClr val="bg1">
                    <a:lumMod val="50000"/>
                  </a:schemeClr>
                </a:solidFill>
              </a:defRPr>
            </a:lvl1pPr>
            <a:lvl2pPr>
              <a:lnSpc>
                <a:spcPct val="100000"/>
              </a:lnSpc>
              <a:spcBef>
                <a:spcPts val="800"/>
              </a:spcBef>
              <a:defRPr>
                <a:solidFill>
                  <a:schemeClr val="bg1">
                    <a:lumMod val="50000"/>
                  </a:schemeClr>
                </a:solidFill>
              </a:defRPr>
            </a:lvl2pPr>
            <a:lvl3pPr marL="0" indent="0">
              <a:lnSpc>
                <a:spcPct val="100000"/>
              </a:lnSpc>
              <a:spcBef>
                <a:spcPts val="600"/>
              </a:spcBef>
              <a:defRPr sz="1400">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2820014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6700" y="2026130"/>
            <a:ext cx="11639550" cy="2421692"/>
          </a:xfrm>
        </p:spPr>
        <p:txBody>
          <a:bodyPr anchor="t" anchorCtr="0">
            <a:noAutofit/>
          </a:bodyPr>
          <a:lstStyle>
            <a:lvl1pPr algn="l">
              <a:defRPr sz="8038">
                <a:solidFill>
                  <a:srgbClr val="FFFFFF"/>
                </a:solidFill>
              </a:defRPr>
            </a:lvl1pPr>
          </a:lstStyle>
          <a:p>
            <a:r>
              <a:rPr lang="en-US" dirty="0"/>
              <a:t>Click to edit title</a:t>
            </a:r>
            <a:br>
              <a:rPr lang="en-US" dirty="0"/>
            </a:br>
            <a:endParaRPr lang="en-US" dirty="0"/>
          </a:p>
        </p:txBody>
      </p:sp>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2381593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43444561"/>
      </p:ext>
    </p:extLst>
  </p:cSld>
  <p:clrMapOvr>
    <a:masterClrMapping/>
  </p:clrMapOvr>
  <p:transition spd="slow">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6633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532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00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12682" r="18628" b="10323"/>
          <a:stretch/>
        </p:blipFill>
        <p:spPr>
          <a:xfrm>
            <a:off x="0" y="0"/>
            <a:ext cx="12192000" cy="6858001"/>
          </a:xfrm>
          <a:prstGeom prst="rect">
            <a:avLst/>
          </a:prstGeom>
        </p:spPr>
      </p:pic>
      <p:sp>
        <p:nvSpPr>
          <p:cNvPr id="18" name="Rectangle 17"/>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14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492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a:t>Click to edit Master text style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2050" name="Picture 2" descr="\\211.47.134.14\2014\Microsoft\0924_techdays korea 2014_구예진 B\로고\techdayskorea2014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36966" y="390456"/>
            <a:ext cx="1412998" cy="638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427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8"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9115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975528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450351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83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53784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451724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a:t>Click to edit Master text styl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783246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06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7980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06414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653779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01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9860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7592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2097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4441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21339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0860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4276939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제목 및 내용">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6" name="Title 5"/>
          <p:cNvSpPr>
            <a:spLocks noGrp="1"/>
          </p:cNvSpPr>
          <p:nvPr>
            <p:ph type="title"/>
          </p:nvPr>
        </p:nvSpPr>
        <p:spPr/>
        <p:txBody>
          <a:bodyPr/>
          <a:lstStyle/>
          <a:p>
            <a:r>
              <a:rPr lang="en-US" altLang="ko-KR"/>
              <a:t>Click to edit Master title style</a:t>
            </a:r>
            <a:endParaRPr lang="en-US"/>
          </a:p>
        </p:txBody>
      </p:sp>
    </p:spTree>
    <p:extLst>
      <p:ext uri="{BB962C8B-B14F-4D97-AF65-F5344CB8AC3E}">
        <p14:creationId xmlns:p14="http://schemas.microsoft.com/office/powerpoint/2010/main" val="9782333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6" name="Title 5"/>
          <p:cNvSpPr>
            <a:spLocks noGrp="1"/>
          </p:cNvSpPr>
          <p:nvPr>
            <p:ph type="title"/>
          </p:nvPr>
        </p:nvSpPr>
        <p:spPr/>
        <p:txBody>
          <a:bodyPr/>
          <a:lstStyle/>
          <a:p>
            <a:r>
              <a:rPr lang="en-US" altLang="ko-KR"/>
              <a:t>Click to edit Master title style</a:t>
            </a:r>
            <a:endParaRPr lang="en-US"/>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55745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275352171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32434043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28515462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31940011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제목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en-US"/>
          </a:p>
        </p:txBody>
      </p:sp>
      <p:pic>
        <p:nvPicPr>
          <p:cNvPr id="3"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61769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34638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2"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692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599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455110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7"/>
            <a:ext cx="2743200" cy="365125"/>
          </a:xfrm>
          <a:prstGeom prst="rect">
            <a:avLst/>
          </a:prstGeom>
        </p:spPr>
        <p:txBody>
          <a:bodyPr/>
          <a:lstStyle/>
          <a:p>
            <a:pPr defTabSz="914367" latinLnBrk="0"/>
            <a:fld id="{0A164282-434E-41D4-9582-783D542A7B68}" type="slidenum">
              <a:rPr lang="en-US" sz="1765" smtClean="0">
                <a:solidFill>
                  <a:srgbClr val="505050"/>
                </a:solidFill>
              </a:rPr>
              <a:pPr defTabSz="914367" latinLnBrk="0"/>
              <a:t>‹#›</a:t>
            </a:fld>
            <a:endParaRPr lang="en-US" sz="1765">
              <a:solidFill>
                <a:srgbClr val="505050"/>
              </a:solidFill>
            </a:endParaRPr>
          </a:p>
        </p:txBody>
      </p:sp>
    </p:spTree>
    <p:extLst>
      <p:ext uri="{BB962C8B-B14F-4D97-AF65-F5344CB8AC3E}">
        <p14:creationId xmlns:p14="http://schemas.microsoft.com/office/powerpoint/2010/main" val="12464356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971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dirty="0"/>
          </a:p>
        </p:txBody>
      </p:sp>
    </p:spTree>
    <p:extLst>
      <p:ext uri="{BB962C8B-B14F-4D97-AF65-F5344CB8AC3E}">
        <p14:creationId xmlns:p14="http://schemas.microsoft.com/office/powerpoint/2010/main" val="404528909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ko-KR"/>
              <a:t>Click to edit Master title style</a:t>
            </a:r>
            <a:endParaRPr lang="en-US" dirty="0"/>
          </a:p>
        </p:txBody>
      </p:sp>
      <p:pic>
        <p:nvPicPr>
          <p:cNvPr id="3074" name="Picture 2" descr="\\211.47.134.14\2014\Microsoft\0924_techdays korea 2014_구예진 B\로고\techday logo - white Ve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7692" y="82030"/>
            <a:ext cx="2069541" cy="1152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455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ko-KR"/>
              <a:t>Click to edit Master title style</a:t>
            </a:r>
            <a:endParaRPr lang="ko-KR" alt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a:t>Click to edit Master subtitle style</a:t>
            </a:r>
            <a:endParaRPr lang="ko-KR" alt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0E95E16D-752B-4FAA-8ADB-610870E68D02}" type="datetimeFigureOut">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9-22</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B194E7E1-DA4E-4185-BB25-F602B56F5F48}" type="slidenum">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4661731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04286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01929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5083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938794"/>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089524"/>
            <a:ext cx="6313281"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5" y="3545815"/>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79" y="2492991"/>
            <a:ext cx="6329720"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0498292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 y="6"/>
            <a:ext cx="12192000" cy="692458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30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 y="2584566"/>
            <a:ext cx="7956223" cy="3818020"/>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2735294"/>
            <a:ext cx="7272318"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5" y="5191587"/>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85" y="4138763"/>
            <a:ext cx="7291254"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064185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41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48376"/>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43283"/>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767419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2184808"/>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614397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51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889512"/>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884419"/>
            <a:ext cx="6313281"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456450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6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499087"/>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494002"/>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494608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t="15560"/>
          <a:stretch/>
        </p:blipFill>
        <p:spPr>
          <a:xfrm>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71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24939"/>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19860"/>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376411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139" t="18869" r="6186" b="3476"/>
          <a:stretch/>
        </p:blipFill>
        <p:spPr>
          <a:xfrm>
            <a:off x="1" y="0"/>
            <a:ext cx="12191999" cy="6879668"/>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82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7" y="2290098"/>
            <a:ext cx="6975835"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7" y="3368112"/>
            <a:ext cx="6152365" cy="1661993"/>
          </a:xfrm>
          <a:prstGeom prst="rect">
            <a:avLst/>
          </a:prstGeom>
        </p:spPr>
        <p:txBody>
          <a:bodyPr wrap="square" lIns="149143" tIns="0" rIns="149143" bIns="0" anchor="ctr" anchorCtr="0">
            <a:spAutoFit/>
          </a:bodyPr>
          <a:lstStyle>
            <a:lvl1pPr>
              <a:lnSpc>
                <a:spcPct val="90000"/>
              </a:lnSpc>
              <a:spcBef>
                <a:spcPts val="0"/>
              </a:spcBef>
              <a:defRPr sz="598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3449926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5534" t="14732" r="1686" b="6521"/>
          <a:stretch/>
        </p:blipFill>
        <p:spPr>
          <a:xfrm>
            <a:off x="6" y="5310"/>
            <a:ext cx="12192000" cy="686153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92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8853" y="2698161"/>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3693082"/>
            <a:ext cx="7291634"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53511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2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29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16611070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8"/>
            <a:ext cx="7393324" cy="1588127"/>
          </a:xfrm>
        </p:spPr>
        <p:txBody>
          <a:bodyPr rIns="93214"/>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580"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85580" rtl="0" eaLnBrk="1" latinLnBrk="0" hangingPunct="1">
              <a:lnSpc>
                <a:spcPct val="90000"/>
              </a:lnSpc>
              <a:spcBef>
                <a:spcPct val="20000"/>
              </a:spcBef>
              <a:buSzPct val="90000"/>
              <a:buFont typeface="Arial" pitchFamily="34" charset="0"/>
              <a:buNone/>
            </a:pPr>
            <a:r>
              <a:rPr lang="en-US"/>
              <a:t>Second level</a:t>
            </a:r>
          </a:p>
          <a:p>
            <a:pPr marL="0" lvl="2" indent="0" algn="l" defTabSz="685580" rtl="0" eaLnBrk="1" latinLnBrk="0" hangingPunct="1">
              <a:lnSpc>
                <a:spcPct val="90000"/>
              </a:lnSpc>
              <a:spcBef>
                <a:spcPct val="20000"/>
              </a:spcBef>
              <a:buSzPct val="90000"/>
              <a:buFont typeface="Arial" pitchFamily="34" charset="0"/>
              <a:buNone/>
            </a:pPr>
            <a:r>
              <a:rPr lang="en-US"/>
              <a:t>Third level</a:t>
            </a:r>
          </a:p>
          <a:p>
            <a:pPr marL="0" lvl="3" indent="0" algn="l" defTabSz="685580" rtl="0" eaLnBrk="1" latinLnBrk="0" hangingPunct="1">
              <a:lnSpc>
                <a:spcPct val="90000"/>
              </a:lnSpc>
              <a:spcBef>
                <a:spcPct val="20000"/>
              </a:spcBef>
              <a:buSzPct val="90000"/>
              <a:buFont typeface="Arial" pitchFamily="34" charset="0"/>
              <a:buNone/>
            </a:pPr>
            <a:r>
              <a:rPr lang="en-US"/>
              <a:t>Fourth level</a:t>
            </a:r>
          </a:p>
          <a:p>
            <a:pPr marL="0" lvl="4" indent="0" algn="l" defTabSz="685580"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266732" y="193811"/>
            <a:ext cx="7404441" cy="678980"/>
          </a:xfr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04013898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5" y="228605"/>
            <a:ext cx="11151917" cy="661720"/>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873359968"/>
      </p:ext>
    </p:extLst>
  </p:cSld>
  <p:clrMapOvr>
    <a:masterClrMapping/>
  </p:clrMapOvr>
  <p:transition spd="med">
    <p:push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173755"/>
            <a:ext cx="11290165" cy="66370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97003696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9"/>
            <a:ext cx="11234738" cy="1834338"/>
          </a:xfrm>
        </p:spPr>
        <p:txBody>
          <a:bodyPr/>
          <a:lstStyle>
            <a:lvl2pPr>
              <a:spcBef>
                <a:spcPts val="6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2632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35080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7_PresentationTitle_Manufacturing1">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457202" y="699107"/>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57202"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2858173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158097"/>
            <a:ext cx="6464464" cy="132741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206704" y="1181101"/>
            <a:ext cx="6464465" cy="1521218"/>
          </a:xfrm>
          <a:prstGeom prst="rect">
            <a:avLst/>
          </a:prstGeom>
        </p:spPr>
        <p:txBody>
          <a:bodyPr/>
          <a:lstStyle>
            <a:lvl1pPr>
              <a:defRPr lang="en-US" sz="3234"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7"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5"/>
            </a:lvl3pPr>
            <a:lvl4pPr>
              <a:defRPr sz="1077"/>
            </a:lvl4pPr>
            <a:lvl5pPr>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38448659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a:xfrm>
            <a:off x="11501658" y="6492884"/>
            <a:ext cx="683172" cy="365125"/>
          </a:xfrm>
          <a:prstGeom prst="rect">
            <a:avLst/>
          </a:prstGeom>
        </p:spPr>
        <p:txBody>
          <a:bodyPr lIns="91386" tIns="45694" rIns="91386" bIns="45694"/>
          <a:lstStyle/>
          <a:p>
            <a:pPr marL="0" marR="0" lvl="0" indent="0" algn="l" defTabSz="91351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351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134728736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81911"/>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973461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3804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irst Slide">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1638" b="17324"/>
          <a:stretch/>
        </p:blipFill>
        <p:spPr>
          <a:xfrm>
            <a:off x="0" y="-4799"/>
            <a:ext cx="12192000" cy="6858595"/>
          </a:xfrm>
          <a:prstGeom prst="rect">
            <a:avLst/>
          </a:prstGeom>
        </p:spPr>
      </p:pic>
      <p:pic>
        <p:nvPicPr>
          <p:cNvPr id="5" name="Picture 4"/>
          <p:cNvPicPr>
            <a:picLocks noChangeAspect="1"/>
          </p:cNvPicPr>
          <p:nvPr userDrawn="1"/>
        </p:nvPicPr>
        <p:blipFill>
          <a:blip r:embed="rId3"/>
          <a:stretch>
            <a:fillRect/>
          </a:stretch>
        </p:blipFill>
        <p:spPr>
          <a:xfrm>
            <a:off x="555015" y="1538666"/>
            <a:ext cx="6085223" cy="37716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930" y="2138520"/>
            <a:ext cx="5345393" cy="1285981"/>
          </a:xfrm>
          <a:prstGeom prst="rect">
            <a:avLst/>
          </a:prstGeom>
        </p:spPr>
      </p:pic>
      <p:sp>
        <p:nvSpPr>
          <p:cNvPr id="7" name="TextBox 6">
            <a:hlinkClick r:id="rId5"/>
          </p:cNvPr>
          <p:cNvSpPr txBox="1"/>
          <p:nvPr userDrawn="1"/>
        </p:nvSpPr>
        <p:spPr>
          <a:xfrm>
            <a:off x="853323" y="4214987"/>
            <a:ext cx="2888605" cy="584775"/>
          </a:xfrm>
          <a:prstGeom prst="rect">
            <a:avLst/>
          </a:prstGeom>
          <a:noFill/>
        </p:spPr>
        <p:txBody>
          <a:bodyPr wrap="square"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msdevcon.ru</a:t>
            </a:r>
          </a:p>
        </p:txBody>
      </p:sp>
      <p:sp>
        <p:nvSpPr>
          <p:cNvPr id="9" name="Прямоугольник 8"/>
          <p:cNvSpPr/>
          <p:nvPr userDrawn="1"/>
        </p:nvSpPr>
        <p:spPr>
          <a:xfrm>
            <a:off x="4099277" y="4214987"/>
            <a:ext cx="2183611" cy="584775"/>
          </a:xfrm>
          <a:prstGeom prst="rect">
            <a:avLst/>
          </a:prstGeom>
        </p:spPr>
        <p:txBody>
          <a:bodyPr wrap="none">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a:t>
            </a:r>
            <a:r>
              <a:rPr kumimoji="0" lang="en-US" sz="3200" b="0" i="0" u="none" strike="noStrike" kern="1200" cap="none" spc="0" normalizeH="0" baseline="0" noProof="0" dirty="0" err="1">
                <a:ln>
                  <a:noFill/>
                </a:ln>
                <a:solidFill>
                  <a:srgbClr val="FFFFFF"/>
                </a:solidFill>
                <a:effectLst/>
                <a:uLnTx/>
                <a:uFillTx/>
                <a:latin typeface="Segoe UI Light"/>
                <a:ea typeface="+mn-ea"/>
                <a:cs typeface="+mn-cs"/>
              </a:rPr>
              <a:t>msdevcon</a:t>
            </a:r>
            <a:endParaRPr kumimoji="0" lang="en-US" sz="32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594813961"/>
      </p:ext>
    </p:extLst>
  </p:cSld>
  <p:clrMapOvr>
    <a:overrideClrMapping bg1="lt1" tx1="dk1" bg2="lt2" tx2="dk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Sess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4174" b="14269"/>
          <a:stretch/>
        </p:blipFill>
        <p:spPr>
          <a:xfrm>
            <a:off x="-24000" y="0"/>
            <a:ext cx="12240000" cy="6858000"/>
          </a:xfrm>
          <a:prstGeom prst="rect">
            <a:avLst/>
          </a:prstGeom>
        </p:spPr>
      </p:pic>
      <p:sp>
        <p:nvSpPr>
          <p:cNvPr id="2" name="Заголовок 1"/>
          <p:cNvSpPr>
            <a:spLocks noGrp="1"/>
          </p:cNvSpPr>
          <p:nvPr>
            <p:ph type="ctrTitle" hasCustomPrompt="1"/>
          </p:nvPr>
        </p:nvSpPr>
        <p:spPr>
          <a:xfrm>
            <a:off x="0" y="3961423"/>
            <a:ext cx="12192000" cy="1440000"/>
          </a:xfrm>
          <a:noFill/>
        </p:spPr>
        <p:txBody>
          <a:bodyPr wrap="square" lIns="1080000" rIns="1080000" anchor="b" anchorCtr="0">
            <a:normAutofit/>
          </a:bodyPr>
          <a:lstStyle>
            <a:lvl1pPr algn="l">
              <a:defRPr sz="4800" b="1" baseline="0">
                <a:solidFill>
                  <a:schemeClr val="bg1"/>
                </a:solidFill>
                <a:latin typeface="+mn-lt"/>
              </a:defRPr>
            </a:lvl1pPr>
          </a:lstStyle>
          <a:p>
            <a:r>
              <a:rPr lang="en-US" dirty="0"/>
              <a:t>TITLE</a:t>
            </a:r>
            <a:br>
              <a:rPr lang="en-US" dirty="0"/>
            </a:br>
            <a:r>
              <a:rPr lang="en-US" dirty="0"/>
              <a:t>!UPPERCASE!</a:t>
            </a:r>
            <a:endParaRPr lang="ru-RU" dirty="0"/>
          </a:p>
        </p:txBody>
      </p:sp>
      <p:sp>
        <p:nvSpPr>
          <p:cNvPr id="21" name="Text Placeholder 20"/>
          <p:cNvSpPr>
            <a:spLocks noGrp="1"/>
          </p:cNvSpPr>
          <p:nvPr>
            <p:ph type="body" sz="quarter" idx="11" hasCustomPrompt="1"/>
          </p:nvPr>
        </p:nvSpPr>
        <p:spPr>
          <a:xfrm>
            <a:off x="1055689" y="5409000"/>
            <a:ext cx="10080625" cy="1081088"/>
          </a:xfrm>
        </p:spPr>
        <p:txBody>
          <a:bodyPr>
            <a:normAutofit/>
          </a:bodyPr>
          <a:lstStyle>
            <a:lvl1pPr marL="0" indent="0">
              <a:buNone/>
              <a:defRPr sz="3600" baseline="0">
                <a:solidFill>
                  <a:schemeClr val="bg1"/>
                </a:solidFill>
              </a:defRPr>
            </a:lvl1pPr>
          </a:lstStyle>
          <a:p>
            <a:pPr lvl="0"/>
            <a:r>
              <a:rPr lang="en-US" dirty="0"/>
              <a:t>Subtitle</a:t>
            </a:r>
          </a:p>
        </p:txBody>
      </p:sp>
    </p:spTree>
    <p:extLst>
      <p:ext uri="{BB962C8B-B14F-4D97-AF65-F5344CB8AC3E}">
        <p14:creationId xmlns:p14="http://schemas.microsoft.com/office/powerpoint/2010/main" val="112008283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1_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6"/>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spTree>
    <p:extLst>
      <p:ext uri="{BB962C8B-B14F-4D97-AF65-F5344CB8AC3E}">
        <p14:creationId xmlns:p14="http://schemas.microsoft.com/office/powerpoint/2010/main" val="69836272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1"/>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Tree>
    <p:extLst>
      <p:ext uri="{BB962C8B-B14F-4D97-AF65-F5344CB8AC3E}">
        <p14:creationId xmlns:p14="http://schemas.microsoft.com/office/powerpoint/2010/main" val="21674574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3"/>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1" y="4329002"/>
            <a:ext cx="8460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
        <p:nvSpPr>
          <p:cNvPr id="6" name="Рисунок 5"/>
          <p:cNvSpPr>
            <a:spLocks noGrp="1"/>
          </p:cNvSpPr>
          <p:nvPr>
            <p:ph type="pic" sz="quarter" idx="10"/>
          </p:nvPr>
        </p:nvSpPr>
        <p:spPr>
          <a:xfrm>
            <a:off x="9651368" y="1628708"/>
            <a:ext cx="2159000" cy="2160587"/>
          </a:xfrm>
          <a:prstGeom prst="wedgeEllipseCallout">
            <a:avLst>
              <a:gd name="adj1" fmla="val -47657"/>
              <a:gd name="adj2" fmla="val 51214"/>
            </a:avLst>
          </a:prstGeom>
          <a:solidFill>
            <a:schemeClr val="tx2"/>
          </a:solidFill>
        </p:spPr>
        <p:txBody>
          <a:bodyPr/>
          <a:lstStyle/>
          <a:p>
            <a:endParaRPr lang="ru-RU" dirty="0"/>
          </a:p>
        </p:txBody>
      </p:sp>
      <p:pic>
        <p:nvPicPr>
          <p:cNvPr id="7" name="Рисунок 6"/>
          <p:cNvPicPr>
            <a:picLocks noChangeAspect="1"/>
          </p:cNvPicPr>
          <p:nvPr userDrawn="1"/>
        </p:nvPicPr>
        <p:blipFill>
          <a:blip r:embed="rId2"/>
          <a:stretch>
            <a:fillRect/>
          </a:stretch>
        </p:blipFill>
        <p:spPr>
          <a:xfrm>
            <a:off x="11276896" y="6442645"/>
            <a:ext cx="266737" cy="304844"/>
          </a:xfrm>
          <a:prstGeom prst="rect">
            <a:avLst/>
          </a:prstGeom>
        </p:spPr>
      </p:pic>
    </p:spTree>
    <p:extLst>
      <p:ext uri="{BB962C8B-B14F-4D97-AF65-F5344CB8AC3E}">
        <p14:creationId xmlns:p14="http://schemas.microsoft.com/office/powerpoint/2010/main" val="749966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5296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Demo">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50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50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192905642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Demo VS">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75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496000" y="6309001"/>
            <a:ext cx="352475" cy="362001"/>
          </a:xfrm>
          <a:prstGeom prst="rect">
            <a:avLst/>
          </a:prstGeom>
        </p:spPr>
      </p:pic>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75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24338167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a:defRPr/>
            </a:lvl1pPr>
            <a:lvl2pPr>
              <a:defRPr/>
            </a:lvl2pPr>
            <a:lvl3pPr>
              <a:defRPr/>
            </a:lvl3p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401064095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369269294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a:xfrm>
            <a:off x="1056000" y="1449000"/>
            <a:ext cx="10297800" cy="4860000"/>
          </a:xfrm>
          <a:gradFill flip="none" rotWithShape="1">
            <a:gsLst>
              <a:gs pos="1000">
                <a:schemeClr val="accent6"/>
              </a:gs>
              <a:gs pos="1000">
                <a:schemeClr val="bg1">
                  <a:alpha val="99000"/>
                </a:schemeClr>
              </a:gs>
            </a:gsLst>
            <a:lin ang="0" scaled="1"/>
            <a:tileRect/>
          </a:gradFill>
          <a:ln>
            <a:noFill/>
          </a:ln>
        </p:spPr>
        <p:txBody>
          <a:bodyPr lIns="180000">
            <a:normAutofit/>
          </a:bodyPr>
          <a:lstStyle>
            <a:lvl1pPr marL="0" indent="0">
              <a:spcBef>
                <a:spcPts val="600"/>
              </a:spcBef>
              <a:spcAft>
                <a:spcPts val="0"/>
              </a:spcAft>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22" indent="0">
              <a:spcBef>
                <a:spcPts val="600"/>
              </a:spcBef>
              <a:spcAft>
                <a:spcPts val="0"/>
              </a:spcAft>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055" indent="0">
              <a:spcBef>
                <a:spcPts val="600"/>
              </a:spcBef>
              <a:spcAft>
                <a:spcPts val="0"/>
              </a:spcAft>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376" indent="0">
              <a:spcBef>
                <a:spcPts val="600"/>
              </a:spcBef>
              <a:spcAft>
                <a:spcPts val="0"/>
              </a:spcAft>
              <a:buNone/>
              <a:defRPr sz="1800">
                <a:latin typeface="Consolas" panose="020B0609020204030204" pitchFamily="49" charset="0"/>
                <a:cs typeface="Consolas" panose="020B0609020204030204" pitchFamily="49" charset="0"/>
              </a:defRPr>
            </a:lvl4pPr>
            <a:lvl5pPr marL="1439697" indent="0">
              <a:spcBef>
                <a:spcPts val="600"/>
              </a:spcBef>
              <a:spcAft>
                <a:spcPts val="0"/>
              </a:spcAft>
              <a:buNone/>
              <a:defRPr>
                <a:latin typeface="Consolas" panose="020B0609020204030204" pitchFamily="49" charset="0"/>
                <a:cs typeface="Consolas" panose="020B0609020204030204" pitchFamily="49" charset="0"/>
              </a:defRPr>
            </a:lvl5pPr>
          </a:lstStyle>
          <a:p>
            <a:pPr lvl="0"/>
            <a:r>
              <a:rPr lang="en-US" dirty="0"/>
              <a:t>Line 1</a:t>
            </a:r>
          </a:p>
          <a:p>
            <a:pPr lvl="1"/>
            <a:r>
              <a:rPr lang="en-US" dirty="0"/>
              <a:t>Line 2</a:t>
            </a:r>
          </a:p>
          <a:p>
            <a:pPr lvl="2"/>
            <a:r>
              <a:rPr lang="en-US" dirty="0"/>
              <a:t>Line 3</a:t>
            </a:r>
          </a:p>
          <a:p>
            <a:pPr lvl="3"/>
            <a:r>
              <a:rPr lang="en-US" dirty="0"/>
              <a:t>Line 4</a:t>
            </a:r>
          </a:p>
          <a:p>
            <a:pPr lvl="4"/>
            <a:r>
              <a:rPr lang="en-US" dirty="0"/>
              <a:t>Line 5</a:t>
            </a:r>
            <a:endParaRPr lang="ru-RU" dirty="0"/>
          </a:p>
        </p:txBody>
      </p:sp>
    </p:spTree>
    <p:extLst>
      <p:ext uri="{BB962C8B-B14F-4D97-AF65-F5344CB8AC3E}">
        <p14:creationId xmlns:p14="http://schemas.microsoft.com/office/powerpoint/2010/main" val="202270753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Tree>
    <p:extLst>
      <p:ext uri="{BB962C8B-B14F-4D97-AF65-F5344CB8AC3E}">
        <p14:creationId xmlns:p14="http://schemas.microsoft.com/office/powerpoint/2010/main" val="104227110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0500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hasCustomPrompt="1"/>
          </p:nvPr>
        </p:nvSpPr>
        <p:spPr>
          <a:xfrm>
            <a:off x="0" y="5589001"/>
            <a:ext cx="12192000" cy="720000"/>
          </a:xfrm>
        </p:spPr>
        <p:txBody>
          <a:bodyPr lIns="1044000">
            <a:noAutofit/>
          </a:bodyPr>
          <a:lstStyle>
            <a:lvl1pPr>
              <a:defRPr sz="4800"/>
            </a:lvl1pPr>
          </a:lstStyle>
          <a:p>
            <a:r>
              <a:rPr lang="en-US" dirty="0"/>
              <a:t>Title</a:t>
            </a:r>
            <a:endParaRPr lang="ru-RU" dirty="0"/>
          </a:p>
        </p:txBody>
      </p:sp>
    </p:spTree>
    <p:extLst>
      <p:ext uri="{BB962C8B-B14F-4D97-AF65-F5344CB8AC3E}">
        <p14:creationId xmlns:p14="http://schemas.microsoft.com/office/powerpoint/2010/main" val="180241697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3"/>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hasCustomPrompt="1"/>
          </p:nvPr>
        </p:nvSpPr>
        <p:spPr>
          <a:xfrm>
            <a:off x="2296" y="1269000"/>
            <a:ext cx="609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285598419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2"/>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hasCustomPrompt="1"/>
          </p:nvPr>
        </p:nvSpPr>
        <p:spPr>
          <a:xfrm>
            <a:off x="2296" y="1269000"/>
            <a:ext cx="825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36184760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747453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solidFill>
                  <a:schemeClr val="bg1"/>
                </a:solidFill>
              </a:defRPr>
            </a:lvl1pPr>
          </a:lstStyle>
          <a:p>
            <a:r>
              <a:rPr lang="en-US" dirty="0"/>
              <a:t>Title</a:t>
            </a:r>
            <a:endParaRPr lang="ru-RU" dirty="0"/>
          </a:p>
        </p:txBody>
      </p:sp>
      <p:sp>
        <p:nvSpPr>
          <p:cNvPr id="3" name="Объект 2"/>
          <p:cNvSpPr>
            <a:spLocks noGrp="1"/>
          </p:cNvSpPr>
          <p:nvPr>
            <p:ph idx="1" hasCustomPrompt="1"/>
          </p:nvPr>
        </p:nvSpPr>
        <p:spPr>
          <a:xfrm>
            <a:off x="1056000" y="4149139"/>
            <a:ext cx="10297800" cy="2159861"/>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19" indent="-185717">
              <a:buFont typeface="Wingdings" panose="05000000000000000000" pitchFamily="2" charset="2"/>
              <a:buChar char="§"/>
              <a:defRPr>
                <a:ln>
                  <a:noFill/>
                </a:ln>
                <a:solidFill>
                  <a:schemeClr val="bg1">
                    <a:lumMod val="85000"/>
                  </a:schemeClr>
                </a:solidFill>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
        <p:nvSpPr>
          <p:cNvPr id="5" name="Рисунок 4"/>
          <p:cNvSpPr>
            <a:spLocks noGrp="1"/>
          </p:cNvSpPr>
          <p:nvPr>
            <p:ph type="pic" sz="quarter" idx="10"/>
          </p:nvPr>
        </p:nvSpPr>
        <p:spPr>
          <a:xfrm>
            <a:off x="1116000" y="1449388"/>
            <a:ext cx="2460000" cy="2519363"/>
          </a:xfrm>
          <a:prstGeom prst="wedgeEllipseCallout">
            <a:avLst>
              <a:gd name="adj1" fmla="val -49528"/>
              <a:gd name="adj2" fmla="val 49797"/>
            </a:avLst>
          </a:prstGeom>
          <a:solidFill>
            <a:schemeClr val="accent2"/>
          </a:solidFill>
        </p:spPr>
        <p:txBody>
          <a:bodyPr/>
          <a:lstStyle/>
          <a:p>
            <a:endParaRPr lang="ru-RU"/>
          </a:p>
        </p:txBody>
      </p:sp>
    </p:spTree>
    <p:extLst>
      <p:ext uri="{BB962C8B-B14F-4D97-AF65-F5344CB8AC3E}">
        <p14:creationId xmlns:p14="http://schemas.microsoft.com/office/powerpoint/2010/main" val="51358621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3232274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301"/>
            <a:ext cx="11173091" cy="323165"/>
          </a:xfrm>
          <a:prstGeom prst="rect">
            <a:avLst/>
          </a:prstGeom>
          <a:noFill/>
          <a:ln w="12700">
            <a:noFill/>
            <a:miter lim="800000"/>
            <a:headEnd type="none" w="sm" len="sm"/>
            <a:tailEnd type="none" w="sm" len="sm"/>
          </a:ln>
          <a:effectLst/>
        </p:spPr>
        <p:txBody>
          <a:bodyPr lIns="0" tIns="0" rIns="0" bIns="0">
            <a:spAutoFit/>
          </a:bodyPr>
          <a:lstStyle/>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 2013 Microsoft Corporation. All rights reserved. Microsoft, Windows, Windows Vista and other product names are or may be registered trademarks and/or trademarks in the U.S. and/or other countries.</a:t>
            </a:r>
          </a:p>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2" y="2743201"/>
            <a:ext cx="5102225" cy="1091876"/>
          </a:xfrm>
          <a:prstGeom prst="rect">
            <a:avLst/>
          </a:prstGeom>
        </p:spPr>
      </p:pic>
    </p:spTree>
    <p:extLst>
      <p:ext uri="{BB962C8B-B14F-4D97-AF65-F5344CB8AC3E}">
        <p14:creationId xmlns:p14="http://schemas.microsoft.com/office/powerpoint/2010/main" val="34756027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70pt Titl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1" y="291071"/>
            <a:ext cx="10757097" cy="1108427"/>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262"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2" name="Footer Placeholder 1"/>
          <p:cNvSpPr>
            <a:spLocks noGrp="1"/>
          </p:cNvSpPr>
          <p:nvPr>
            <p:ph type="ftr" sz="quarter" idx="11"/>
          </p:nvPr>
        </p:nvSpPr>
        <p:spPr>
          <a:xfrm>
            <a:off x="448213" y="6437243"/>
            <a:ext cx="3859607"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Microsoft Confidential</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1367167" y="6437243"/>
            <a:ext cx="555596"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fld id="{27258FFF-F925-446B-8502-81C933981705}" type="slidenum">
              <a:rPr kumimoji="0" lang="en-US" altLang="ko-KR"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296" rtl="0" eaLnBrk="1" fontAlgn="auto" latinLnBrk="0"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84583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83466179"/>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3888115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2288102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0609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a:t>Click to edit Master text styles</a:t>
            </a:r>
          </a:p>
          <a:p>
            <a:pPr marL="403225" lvl="1" indent="-403225" algn="l" defTabSz="914363" rtl="0" eaLnBrk="1" latinLnBrk="0" hangingPunct="1">
              <a:lnSpc>
                <a:spcPct val="90000"/>
              </a:lnSpc>
              <a:spcBef>
                <a:spcPct val="20000"/>
              </a:spcBef>
              <a:buSzPct val="80000"/>
            </a:pPr>
            <a:r>
              <a:rPr lang="en-US"/>
              <a:t>Second level</a:t>
            </a:r>
          </a:p>
          <a:p>
            <a:pPr marL="403225" lvl="2" indent="-403225" algn="l" defTabSz="914363" rtl="0" eaLnBrk="1" latinLnBrk="0" hangingPunct="1">
              <a:lnSpc>
                <a:spcPct val="90000"/>
              </a:lnSpc>
              <a:spcBef>
                <a:spcPct val="20000"/>
              </a:spcBef>
              <a:buSzPct val="80000"/>
            </a:pPr>
            <a:r>
              <a:rPr lang="en-US"/>
              <a:t>Third level</a:t>
            </a:r>
          </a:p>
          <a:p>
            <a:pPr marL="403225" lvl="3" indent="-403225" algn="l" defTabSz="914363" rtl="0" eaLnBrk="1" latinLnBrk="0" hangingPunct="1">
              <a:lnSpc>
                <a:spcPct val="90000"/>
              </a:lnSpc>
              <a:spcBef>
                <a:spcPct val="20000"/>
              </a:spcBef>
              <a:buSzPct val="80000"/>
            </a:pPr>
            <a:r>
              <a:rPr lang="en-US"/>
              <a:t>Fourth level</a:t>
            </a:r>
          </a:p>
          <a:p>
            <a:pPr marL="403225" lvl="4" indent="-403225" algn="l" defTabSz="914363"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009759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5357397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734306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41934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t>Click to edit Master title style</a:t>
            </a:r>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9794651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168219294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1687462066"/>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394914265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402601843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109203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6618284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 2011 Microsoft Corporation. All rights reserved. Microsoft, Windows, Windows Vista and other product names are or may be registered trademarks and/or trademarks in the U.S. and/or other countries.</a:t>
            </a:r>
          </a:p>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24093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639053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6776571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27758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46496014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defTabSz="1218987" latinLnBrk="0"/>
            <a:fld id="{5E557047-71DC-490B-BCBA-F5270433745D}" type="datetimeFigureOut">
              <a:rPr lang="en-US" sz="2400" smtClean="0">
                <a:solidFill>
                  <a:srgbClr val="292929"/>
                </a:solidFill>
              </a:rPr>
              <a:pPr defTabSz="1218987" latinLnBrk="0"/>
              <a:t>9/22/2016</a:t>
            </a:fld>
            <a:endParaRPr lang="en-US" sz="2400">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p>
            <a:pPr defTabSz="1218987" latinLnBrk="0"/>
            <a:endParaRPr lang="en-US" sz="2400">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p>
            <a:pPr defTabSz="1218987" latinLnBrk="0"/>
            <a:fld id="{D4C7DCE7-1875-43E1-A18F-C9D237E1644F}" type="slidenum">
              <a:rPr lang="en-US" sz="2400" smtClean="0">
                <a:solidFill>
                  <a:srgbClr val="292929"/>
                </a:solidFill>
              </a:rPr>
              <a:pPr defTabSz="1218987" latinLnBrk="0"/>
              <a:t>‹#›</a:t>
            </a:fld>
            <a:endParaRPr lang="en-US" sz="2400">
              <a:solidFill>
                <a:srgbClr val="292929"/>
              </a:solidFill>
            </a:endParaRPr>
          </a:p>
        </p:txBody>
      </p:sp>
    </p:spTree>
    <p:extLst>
      <p:ext uri="{BB962C8B-B14F-4D97-AF65-F5344CB8AC3E}">
        <p14:creationId xmlns:p14="http://schemas.microsoft.com/office/powerpoint/2010/main" val="6672026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6613" r="20858" b="9535"/>
          <a:stretch/>
        </p:blipFill>
        <p:spPr>
          <a:xfrm>
            <a:off x="2" y="-1"/>
            <a:ext cx="12191999" cy="6858001"/>
          </a:xfrm>
          <a:prstGeom prst="rect">
            <a:avLst/>
          </a:prstGeom>
        </p:spPr>
      </p:pic>
      <p:sp>
        <p:nvSpPr>
          <p:cNvPr id="8" name="Rectangle 7"/>
          <p:cNvSpPr/>
          <p:nvPr userDrawn="1"/>
        </p:nvSpPr>
        <p:spPr bwMode="gray">
          <a:xfrm>
            <a:off x="269239" y="2084173"/>
            <a:ext cx="7171383" cy="2689640"/>
          </a:xfrm>
          <a:prstGeom prst="rect">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9"/>
          <p:cNvSpPr>
            <a:spLocks noGrp="1"/>
          </p:cNvSpPr>
          <p:nvPr>
            <p:ph type="title"/>
          </p:nvPr>
        </p:nvSpPr>
        <p:spPr>
          <a:xfrm>
            <a:off x="267682" y="2082469"/>
            <a:ext cx="7172940" cy="1884456"/>
          </a:xfrm>
        </p:spPr>
        <p:txBody>
          <a:bodyPr/>
          <a:lstStyle/>
          <a:p>
            <a:r>
              <a:rPr lang="en-US" dirty="0"/>
              <a:t>Hardware presentation title goes he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12" name="Picture 11" descr="summit-sign_lockup_RGB_event_name-0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302" y="4764474"/>
            <a:ext cx="1792850" cy="1793104"/>
          </a:xfrm>
          <a:prstGeom prst="rect">
            <a:avLst/>
          </a:prstGeom>
        </p:spPr>
      </p:pic>
    </p:spTree>
    <p:extLst>
      <p:ext uri="{BB962C8B-B14F-4D97-AF65-F5344CB8AC3E}">
        <p14:creationId xmlns:p14="http://schemas.microsoft.com/office/powerpoint/2010/main" val="4290430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109197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593002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736750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471885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991881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6DC2E9"/>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992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4130505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174259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50254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45062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19279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8067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907375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11997924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147337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a:t>Click to edit master title style</a:t>
            </a:r>
          </a:p>
        </p:txBody>
      </p:sp>
    </p:spTree>
    <p:extLst>
      <p:ext uri="{BB962C8B-B14F-4D97-AF65-F5344CB8AC3E}">
        <p14:creationId xmlns:p14="http://schemas.microsoft.com/office/powerpoint/2010/main" val="55766582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85033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Tree>
    <p:extLst>
      <p:ext uri="{BB962C8B-B14F-4D97-AF65-F5344CB8AC3E}">
        <p14:creationId xmlns:p14="http://schemas.microsoft.com/office/powerpoint/2010/main" val="34077938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2521044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55" y="259793"/>
            <a:ext cx="8964247" cy="979531"/>
          </a:xfrm>
        </p:spPr>
        <p:txBody>
          <a:bodyPr lIns="146125" tIns="91329" rIns="146125" bIns="91329"/>
          <a:lstStyle>
            <a:lvl1pPr>
              <a:lnSpc>
                <a:spcPts val="6175"/>
              </a:lnSpc>
              <a:defRPr sz="5097" baseline="0">
                <a:solidFill>
                  <a:schemeClr val="tx2"/>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88843232"/>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446318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latinLnBrk="0"/>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249424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09450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83918381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56963588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79040834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08086926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1288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1664337"/>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5698197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3303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03567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latinLnBrk="0"/>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37082444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latin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63639745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143878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0171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2164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35016553"/>
      </p:ext>
    </p:extLst>
  </p:cSld>
  <p:clrMapOvr>
    <a:masterClrMapping/>
  </p:clrMapOvr>
  <p:extLst>
    <p:ext uri="{DCECCB84-F9BA-43D5-87BE-67443E8EF086}">
      <p15:sldGuideLst xmlns:p15="http://schemas.microsoft.com/office/powerpoint/2012/main">
        <p15:guide id="1" orient="horz" pos="264">
          <p15:clr>
            <a:srgbClr val="FBAE40"/>
          </p15:clr>
        </p15:guide>
        <p15:guide id="2" pos="3840">
          <p15:clr>
            <a:srgbClr val="FBAE40"/>
          </p15:clr>
        </p15:guide>
        <p15:guide id="3" orient="horz" pos="4008">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46658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110007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33769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70243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980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p>
        </p:txBody>
      </p:sp>
      <p:sp>
        <p:nvSpPr>
          <p:cNvPr id="3" name="Content Placeholder 2"/>
          <p:cNvSpPr>
            <a:spLocks noGrp="1"/>
          </p:cNvSpPr>
          <p:nvPr>
            <p:ph idx="1"/>
          </p:nvPr>
        </p:nvSpPr>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800" b="0" baseline="0" dirty="0">
                <a:latin typeface="+mn-lt"/>
                <a:ea typeface="+mn-ea"/>
                <a:cs typeface="+mj-cs"/>
              </a:defRPr>
            </a:lvl1pPr>
          </a:lstStyle>
          <a:p>
            <a:pPr lvl="0">
              <a:spcBef>
                <a:spcPct val="0"/>
              </a:spcBef>
            </a:pPr>
            <a:r>
              <a:rPr lang="ko-KR" altLang="en-US"/>
              <a:t>마스터 텍스트 스타일을 편집합니다</a:t>
            </a:r>
          </a:p>
        </p:txBody>
      </p:sp>
    </p:spTree>
    <p:extLst>
      <p:ext uri="{BB962C8B-B14F-4D97-AF65-F5344CB8AC3E}">
        <p14:creationId xmlns:p14="http://schemas.microsoft.com/office/powerpoint/2010/main" val="178821960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56" y="259794"/>
            <a:ext cx="8964247" cy="979531"/>
          </a:xfrm>
        </p:spPr>
        <p:txBody>
          <a:bodyPr lIns="146125" tIns="91329" rIns="146125" bIns="91329"/>
          <a:lstStyle>
            <a:lvl1pPr>
              <a:lnSpc>
                <a:spcPts val="6174"/>
              </a:lnSpc>
              <a:defRPr sz="5096" baseline="0">
                <a:solidFill>
                  <a:schemeClr val="tx2"/>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30319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2"/>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latinLnBrk="0">
              <a:lnSpc>
                <a:spcPct val="90000"/>
              </a:lnSpc>
              <a:spcBef>
                <a:spcPct val="0"/>
              </a:spcBef>
              <a:spcAft>
                <a:spcPct val="0"/>
              </a:spcAft>
              <a:defRPr/>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3"/>
            <a:ext cx="6276530" cy="1789991"/>
          </a:xfrm>
        </p:spPr>
        <p:txBody>
          <a:bodyPr tIns="109728" bIns="109728">
            <a:noAutofit/>
          </a:bodyPr>
          <a:lstStyle>
            <a:lvl1pPr marL="0" indent="0">
              <a:spcBef>
                <a:spcPts val="0"/>
              </a:spcBef>
              <a:buNone/>
              <a:defRPr sz="3135">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23684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latinLnBrk="0">
              <a:defRPr/>
            </a:pPr>
            <a:endParaRPr lang="en-US" sz="180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20812247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4"/>
            <a:ext cx="10989093" cy="2052030"/>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723159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latinLnBrk="0">
              <a:defRPr/>
            </a:pPr>
            <a:endParaRPr lang="en-US" sz="1800">
              <a:solidFill>
                <a:srgbClr val="FFFFFF"/>
              </a:solidFill>
            </a:endParaRPr>
          </a:p>
        </p:txBody>
      </p:sp>
    </p:spTree>
    <p:extLst>
      <p:ext uri="{BB962C8B-B14F-4D97-AF65-F5344CB8AC3E}">
        <p14:creationId xmlns:p14="http://schemas.microsoft.com/office/powerpoint/2010/main" val="196362567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164831445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8"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1"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4"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3"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6"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9"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5"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2"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6"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6"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9" y="5053909"/>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10"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5" y="4568604"/>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2" y="4567311"/>
            <a:ext cx="1430383" cy="484013"/>
          </a:xfrm>
          <a:prstGeom prst="rect">
            <a:avLst/>
          </a:prstGeom>
        </p:spPr>
      </p:pic>
    </p:spTree>
    <p:extLst>
      <p:ext uri="{BB962C8B-B14F-4D97-AF65-F5344CB8AC3E}">
        <p14:creationId xmlns:p14="http://schemas.microsoft.com/office/powerpoint/2010/main" val="2082461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02651155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13164693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456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Arial" charset="0"/>
              </a:rPr>
              <a:t>Cloud, an ‘evolution’ for IT</a:t>
            </a:r>
          </a:p>
        </p:txBody>
      </p:sp>
    </p:spTree>
    <p:extLst>
      <p:ext uri="{BB962C8B-B14F-4D97-AF65-F5344CB8AC3E}">
        <p14:creationId xmlns:p14="http://schemas.microsoft.com/office/powerpoint/2010/main" val="403736691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65402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278805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075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501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69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4" y="228603"/>
            <a:ext cx="11151919" cy="914360"/>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4" y="1447803"/>
            <a:ext cx="11151919" cy="2559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5486526"/>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44272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1"/>
            <a:ext cx="5046120" cy="908431"/>
          </a:xfrm>
          <a:prstGeom prst="rect">
            <a:avLst/>
          </a:prstGeom>
        </p:spPr>
      </p:pic>
    </p:spTree>
    <p:extLst>
      <p:ext uri="{BB962C8B-B14F-4D97-AF65-F5344CB8AC3E}">
        <p14:creationId xmlns:p14="http://schemas.microsoft.com/office/powerpoint/2010/main" val="14316891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6044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5392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73633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611251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61340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63986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7470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5392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72394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073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9641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6936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4250449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9197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5979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225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5643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4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75126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61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0066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06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27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0895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1144939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624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133" latinLnBrk="0"/>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133" latinLnBrk="0"/>
            <a:fld id="{27258FFF-F925-446B-8502-81C933981705}" type="slidenum">
              <a:rPr lang="en-US" sz="1765" smtClean="0">
                <a:solidFill>
                  <a:srgbClr val="505050"/>
                </a:solidFill>
              </a:rPr>
              <a:pPr defTabSz="914133" latinLnBrk="0"/>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977032"/>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02671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9276" y="1447839"/>
            <a:ext cx="10245217" cy="1523497"/>
          </a:xfrm>
        </p:spPr>
        <p:txBody>
          <a:bodyPr>
            <a:noAutofit/>
          </a:bodyPr>
          <a:lstStyle>
            <a:lvl1pPr>
              <a:lnSpc>
                <a:spcPct val="90000"/>
              </a:lnSpc>
              <a:defRPr sz="4700" spc="-156" baseline="0">
                <a:effectLst>
                  <a:outerShdw blurRad="63500" algn="ctr" rotWithShape="0">
                    <a:schemeClr val="tx1">
                      <a:alpha val="60000"/>
                    </a:scheme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519250" y="4343438"/>
            <a:ext cx="10245219" cy="463255"/>
          </a:xfrm>
        </p:spPr>
        <p:txBody>
          <a:bodyPr>
            <a:noAutofit/>
          </a:bodyPr>
          <a:lstStyle>
            <a:lvl1pPr marL="0" indent="0" algn="l">
              <a:lnSpc>
                <a:spcPct val="90000"/>
              </a:lnSpc>
              <a:spcBef>
                <a:spcPts val="0"/>
              </a:spcBef>
              <a:buNone/>
              <a:defRPr sz="1900" spc="-39"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356555" indent="0" algn="ctr">
              <a:buNone/>
              <a:defRPr>
                <a:solidFill>
                  <a:schemeClr val="tx1">
                    <a:tint val="75000"/>
                  </a:schemeClr>
                </a:solidFill>
              </a:defRPr>
            </a:lvl2pPr>
            <a:lvl3pPr marL="713110" indent="0" algn="ctr">
              <a:buNone/>
              <a:defRPr>
                <a:solidFill>
                  <a:schemeClr val="tx1">
                    <a:tint val="75000"/>
                  </a:schemeClr>
                </a:solidFill>
              </a:defRPr>
            </a:lvl3pPr>
            <a:lvl4pPr marL="1069664" indent="0" algn="ctr">
              <a:buNone/>
              <a:defRPr>
                <a:solidFill>
                  <a:schemeClr val="tx1">
                    <a:tint val="75000"/>
                  </a:schemeClr>
                </a:solidFill>
              </a:defRPr>
            </a:lvl4pPr>
            <a:lvl5pPr marL="1426219" indent="0" algn="ctr">
              <a:buNone/>
              <a:defRPr>
                <a:solidFill>
                  <a:schemeClr val="tx1">
                    <a:tint val="75000"/>
                  </a:schemeClr>
                </a:solidFill>
              </a:defRPr>
            </a:lvl5pPr>
            <a:lvl6pPr marL="1782775" indent="0" algn="ctr">
              <a:buNone/>
              <a:defRPr>
                <a:solidFill>
                  <a:schemeClr val="tx1">
                    <a:tint val="75000"/>
                  </a:schemeClr>
                </a:solidFill>
              </a:defRPr>
            </a:lvl6pPr>
            <a:lvl7pPr marL="2139329" indent="0" algn="ctr">
              <a:buNone/>
              <a:defRPr>
                <a:solidFill>
                  <a:schemeClr val="tx1">
                    <a:tint val="75000"/>
                  </a:schemeClr>
                </a:solidFill>
              </a:defRPr>
            </a:lvl7pPr>
            <a:lvl8pPr marL="2495884" indent="0" algn="ctr">
              <a:buNone/>
              <a:defRPr>
                <a:solidFill>
                  <a:schemeClr val="tx1">
                    <a:tint val="75000"/>
                  </a:schemeClr>
                </a:solidFill>
              </a:defRPr>
            </a:lvl8pPr>
            <a:lvl9pPr marL="285243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246603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7" cy="158197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9142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55262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92035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004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96184" y="0"/>
            <a:ext cx="7895816" cy="6858000"/>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48567066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67201" y="0"/>
            <a:ext cx="7924799" cy="6859876"/>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870818473"/>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38850" y="0"/>
            <a:ext cx="7953153" cy="6855296"/>
          </a:xfrm>
          <a:prstGeom prst="rect">
            <a:avLst/>
          </a:prstGeom>
        </p:spPr>
      </p:pic>
      <p:sp>
        <p:nvSpPr>
          <p:cNvPr id="3" name="Title 1"/>
          <p:cNvSpPr>
            <a:spLocks noGrp="1"/>
          </p:cNvSpPr>
          <p:nvPr>
            <p:ph type="title"/>
          </p:nvPr>
        </p:nvSpPr>
        <p:spPr>
          <a:xfrm>
            <a:off x="519274" y="4024424"/>
            <a:ext cx="3464417" cy="1024896"/>
          </a:xfrm>
        </p:spPr>
        <p:txBody>
          <a:bodyPr/>
          <a:lstStyle/>
          <a:p>
            <a:r>
              <a:rPr lang="en-US"/>
              <a:t>Click to edit Master title style</a:t>
            </a:r>
            <a:endParaRPr lang="en-US" dirty="0"/>
          </a:p>
        </p:txBody>
      </p:sp>
    </p:spTree>
    <p:extLst>
      <p:ext uri="{BB962C8B-B14F-4D97-AF65-F5344CB8AC3E}">
        <p14:creationId xmlns:p14="http://schemas.microsoft.com/office/powerpoint/2010/main" val="1739831557"/>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519248" y="1905507"/>
            <a:ext cx="11151916" cy="1523494"/>
          </a:xfrm>
        </p:spPr>
        <p:txBody>
          <a:bodyPr anchor="t" anchorCtr="0">
            <a:noAutofit/>
          </a:bodyPr>
          <a:lstStyle>
            <a:lvl1pPr>
              <a:lnSpc>
                <a:spcPct val="90000"/>
              </a:lnSpc>
              <a:defRPr sz="5998" spc="-200" baseline="0">
                <a:effectLst>
                  <a:outerShdw blurRad="63500" algn="ctr" rotWithShape="0">
                    <a:schemeClr val="tx1">
                      <a:alpha val="60000"/>
                    </a:scheme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519248" y="4343439"/>
            <a:ext cx="11151916" cy="46166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519248" y="229005"/>
            <a:ext cx="11151916" cy="997196"/>
          </a:xfrm>
        </p:spPr>
        <p:txBody>
          <a:bodyPr wrap="square" anchor="t" anchorCtr="0">
            <a:spAutoFit/>
            <a:scene3d>
              <a:camera prst="orthographicFront"/>
              <a:lightRig rig="flat" dir="t"/>
            </a:scene3d>
            <a:sp3d>
              <a:contourClr>
                <a:schemeClr val="tx2"/>
              </a:contourClr>
            </a:sp3d>
          </a:bodyPr>
          <a:lstStyle>
            <a:lvl1pPr marL="0" indent="0" algn="l">
              <a:buFont typeface="Arial" pitchFamily="34" charset="0"/>
              <a:buNone/>
              <a:defRPr kumimoji="0" lang="en-US" sz="7198" b="1" i="0" u="none" strike="noStrike" kern="1200" cap="none" spc="-600"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dirty="0"/>
              <a:t>Click to…</a:t>
            </a:r>
          </a:p>
        </p:txBody>
      </p:sp>
    </p:spTree>
    <p:extLst>
      <p:ext uri="{BB962C8B-B14F-4D97-AF65-F5344CB8AC3E}">
        <p14:creationId xmlns:p14="http://schemas.microsoft.com/office/powerpoint/2010/main" val="41797168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ext Slide - Whit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914402" y="1130315"/>
            <a:ext cx="10972800" cy="498598"/>
          </a:xfrm>
          <a:prstGeom prst="rect">
            <a:avLst/>
          </a:prstGeom>
        </p:spPr>
        <p:txBody>
          <a:bodyPr/>
          <a:lstStyle>
            <a:lvl1pPr algn="l">
              <a:defRPr sz="3600">
                <a:solidFill>
                  <a:schemeClr val="tx1"/>
                </a:solidFill>
                <a:latin typeface="+mj-lt"/>
              </a:defRPr>
            </a:lvl1pPr>
          </a:lstStyle>
          <a:p>
            <a:r>
              <a:rPr lang="en-US" dirty="0"/>
              <a:t>Headline Goes Here</a:t>
            </a:r>
          </a:p>
        </p:txBody>
      </p:sp>
      <p:sp>
        <p:nvSpPr>
          <p:cNvPr id="8" name="Text Placeholder 7"/>
          <p:cNvSpPr>
            <a:spLocks noGrp="1"/>
          </p:cNvSpPr>
          <p:nvPr>
            <p:ph type="body" sz="quarter" idx="10" hasCustomPrompt="1"/>
          </p:nvPr>
        </p:nvSpPr>
        <p:spPr>
          <a:xfrm>
            <a:off x="914402" y="1676400"/>
            <a:ext cx="7416801" cy="360099"/>
          </a:xfrm>
          <a:prstGeom prst="rect">
            <a:avLst/>
          </a:prstGeom>
        </p:spPr>
        <p:txBody>
          <a:bodyPr/>
          <a:lstStyle>
            <a:lvl1pPr marL="0" indent="0">
              <a:buNone/>
              <a:defRPr sz="2600">
                <a:solidFill>
                  <a:schemeClr val="accent1"/>
                </a:solidFill>
                <a:latin typeface="Segoe" pitchFamily="34" charset="0"/>
              </a:defRPr>
            </a:lvl1pPr>
          </a:lstStyle>
          <a:p>
            <a:pPr lvl="0"/>
            <a:r>
              <a:rPr lang="en-US" dirty="0"/>
              <a:t>Subhead goes here</a:t>
            </a:r>
          </a:p>
        </p:txBody>
      </p:sp>
      <p:sp>
        <p:nvSpPr>
          <p:cNvPr id="7" name="Content Placeholder 6"/>
          <p:cNvSpPr>
            <a:spLocks noGrp="1"/>
          </p:cNvSpPr>
          <p:nvPr>
            <p:ph sz="quarter" idx="11"/>
          </p:nvPr>
        </p:nvSpPr>
        <p:spPr>
          <a:xfrm>
            <a:off x="914402" y="2209837"/>
            <a:ext cx="10972800" cy="1742015"/>
          </a:xfrm>
          <a:prstGeom prst="rect">
            <a:avLst/>
          </a:prstGeom>
        </p:spPr>
        <p:txBody>
          <a:bodyPr/>
          <a:lstStyle>
            <a:lvl1pPr>
              <a:defRPr sz="2800">
                <a:solidFill>
                  <a:schemeClr val="accent3">
                    <a:lumMod val="50000"/>
                  </a:schemeClr>
                </a:solidFill>
              </a:defRPr>
            </a:lvl1pPr>
            <a:lvl2pPr>
              <a:defRPr sz="2400">
                <a:solidFill>
                  <a:schemeClr val="accent3">
                    <a:lumMod val="50000"/>
                  </a:schemeClr>
                </a:solidFill>
              </a:defRPr>
            </a:lvl2pPr>
            <a:lvl3pPr>
              <a:defRPr sz="2000">
                <a:solidFill>
                  <a:schemeClr val="accent3">
                    <a:lumMod val="50000"/>
                  </a:schemeClr>
                </a:solidFill>
              </a:defRPr>
            </a:lvl3pPr>
            <a:lvl4pPr>
              <a:defRPr sz="1800">
                <a:solidFill>
                  <a:schemeClr val="accent3">
                    <a:lumMod val="50000"/>
                  </a:schemeClr>
                </a:solidFill>
              </a:defRPr>
            </a:lvl4pPr>
            <a:lvl5pPr>
              <a:defRPr sz="1800">
                <a:solidFill>
                  <a:schemeClr val="accent3">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15663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title slide">
    <p:spTree>
      <p:nvGrpSpPr>
        <p:cNvPr id="1" name=""/>
        <p:cNvGrpSpPr/>
        <p:nvPr/>
      </p:nvGrpSpPr>
      <p:grpSpPr>
        <a:xfrm>
          <a:off x="0" y="0"/>
          <a:ext cx="0" cy="0"/>
          <a:chOff x="0" y="0"/>
          <a:chExt cx="0" cy="0"/>
        </a:xfrm>
      </p:grpSpPr>
      <p:pic>
        <p:nvPicPr>
          <p:cNvPr id="3" name="Picture 2" descr="section_title_slide.png"/>
          <p:cNvPicPr>
            <a:picLocks noChangeAspect="1"/>
          </p:cNvPicPr>
          <p:nvPr userDrawn="1"/>
        </p:nvPicPr>
        <p:blipFill>
          <a:blip r:embed="rId2" cstate="print"/>
          <a:stretch>
            <a:fillRect/>
          </a:stretch>
        </p:blipFill>
        <p:spPr>
          <a:xfrm>
            <a:off x="-16933" y="-54818"/>
            <a:ext cx="12293601" cy="6925517"/>
          </a:xfrm>
          <a:prstGeom prst="rect">
            <a:avLst/>
          </a:prstGeom>
        </p:spPr>
      </p:pic>
    </p:spTree>
    <p:extLst>
      <p:ext uri="{BB962C8B-B14F-4D97-AF65-F5344CB8AC3E}">
        <p14:creationId xmlns:p14="http://schemas.microsoft.com/office/powerpoint/2010/main" val="404504446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4" name="Picture 3"/>
          <p:cNvPicPr>
            <a:picLocks noChangeAspect="1"/>
          </p:cNvPicPr>
          <p:nvPr userDrawn="1"/>
        </p:nvPicPr>
        <p:blipFill>
          <a:blip r:embed="rId3"/>
          <a:stretch>
            <a:fillRect/>
          </a:stretch>
        </p:blipFill>
        <p:spPr>
          <a:xfrm>
            <a:off x="1460414" y="1592813"/>
            <a:ext cx="9271173" cy="3672373"/>
          </a:xfrm>
          <a:prstGeom prst="rect">
            <a:avLst/>
          </a:prstGeom>
        </p:spPr>
      </p:pic>
    </p:spTree>
    <p:extLst>
      <p:ext uri="{BB962C8B-B14F-4D97-AF65-F5344CB8AC3E}">
        <p14:creationId xmlns:p14="http://schemas.microsoft.com/office/powerpoint/2010/main" val="486648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096000" y="1019411"/>
            <a:ext cx="5374293" cy="5090553"/>
          </a:xfrm>
          <a:prstGeom prst="rect">
            <a:avLst/>
          </a:prstGeom>
        </p:spPr>
      </p:pic>
    </p:spTree>
    <p:extLst>
      <p:ext uri="{BB962C8B-B14F-4D97-AF65-F5344CB8AC3E}">
        <p14:creationId xmlns:p14="http://schemas.microsoft.com/office/powerpoint/2010/main" val="1512860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2658672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73283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4" name="Picture 3"/>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23300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883029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1369128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9949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2986157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4156333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151433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80718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987748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49460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47261087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16876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02492368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9083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5" name="TextBox 4"/>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6" name="Picture 5"/>
          <p:cNvPicPr>
            <a:picLocks noChangeAspect="1"/>
          </p:cNvPicPr>
          <p:nvPr userDrawn="1"/>
        </p:nvPicPr>
        <p:blipFill>
          <a:blip r:embed="rId3"/>
          <a:stretch>
            <a:fillRect/>
          </a:stretch>
        </p:blipFill>
        <p:spPr>
          <a:xfrm>
            <a:off x="6185642" y="1019411"/>
            <a:ext cx="5374293" cy="5090553"/>
          </a:xfrm>
          <a:prstGeom prst="rect">
            <a:avLst/>
          </a:prstGeom>
        </p:spPr>
      </p:pic>
    </p:spTree>
    <p:extLst>
      <p:ext uri="{BB962C8B-B14F-4D97-AF65-F5344CB8AC3E}">
        <p14:creationId xmlns:p14="http://schemas.microsoft.com/office/powerpoint/2010/main" val="338342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3927296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426376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784100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2674880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02280" y="1904878"/>
            <a:ext cx="5468137"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4627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510499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theme" Target="../theme/theme1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theme" Target="../theme/theme11.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theme" Target="../theme/theme12.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5.png"/><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image" Target="../media/image5.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image" Target="../media/image10.jpeg"/><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4.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image" Target="../media/image5.png"/><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theme" Target="../theme/theme5.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heme" Target="../theme/theme6.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image" Target="../media/image30.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theme" Target="../theme/theme7.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theme" Target="../theme/theme8.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image" Target="../media/image48.png"/><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 Type="http://schemas.openxmlformats.org/officeDocument/2006/relationships/slideLayout" Target="../slideLayouts/slideLayout209.xml"/><Relationship Id="rId21" Type="http://schemas.openxmlformats.org/officeDocument/2006/relationships/tags" Target="../tags/tag1.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oleObject" Target="../embeddings/oleObject2.bin"/><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vmlDrawing" Target="../drawings/vmlDrawing1.v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image" Target="../media/image61.emf"/><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oleObject" Target="../embeddings/oleObject1.bin"/><Relationship Id="rId10" Type="http://schemas.openxmlformats.org/officeDocument/2006/relationships/slideLayout" Target="../slideLayouts/slideLayout216.xml"/><Relationship Id="rId19" Type="http://schemas.openxmlformats.org/officeDocument/2006/relationships/theme" Target="../theme/theme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8D9F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a:off x="8755701" y="-1175754"/>
            <a:ext cx="3436299" cy="1167971"/>
          </a:xfrm>
          <a:prstGeom prst="rect">
            <a:avLst/>
          </a:prstGeom>
        </p:spPr>
      </p:pic>
    </p:spTree>
    <p:extLst>
      <p:ext uri="{BB962C8B-B14F-4D97-AF65-F5344CB8AC3E}">
        <p14:creationId xmlns:p14="http://schemas.microsoft.com/office/powerpoint/2010/main" val="1992245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en-US" dirty="0"/>
              <a:t>Title</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394646071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Lst>
  <p:txStyles>
    <p:titleStyle>
      <a:lvl1pPr algn="l" defTabSz="914296"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573" indent="-228573" algn="l" defTabSz="914296" rtl="0" eaLnBrk="1" latinLnBrk="0" hangingPunct="1">
        <a:lnSpc>
          <a:spcPct val="90000"/>
        </a:lnSpc>
        <a:spcBef>
          <a:spcPts val="1800"/>
        </a:spcBef>
        <a:spcAft>
          <a:spcPts val="1000"/>
        </a:spcAft>
        <a:buFont typeface="Wingdings" panose="05000000000000000000" pitchFamily="2" charset="2"/>
        <a:buChar char="§"/>
        <a:defRPr sz="3200" kern="1200">
          <a:solidFill>
            <a:schemeClr val="accent6"/>
          </a:solidFill>
          <a:latin typeface="+mj-lt"/>
          <a:ea typeface="+mn-ea"/>
          <a:cs typeface="+mn-cs"/>
        </a:defRPr>
      </a:lvl1pPr>
      <a:lvl2pPr marL="685720" indent="-228573" algn="l" defTabSz="914296" rtl="0" eaLnBrk="1" latinLnBrk="0" hangingPunct="1">
        <a:lnSpc>
          <a:spcPct val="90000"/>
        </a:lnSpc>
        <a:spcBef>
          <a:spcPts val="800"/>
        </a:spcBef>
        <a:spcAft>
          <a:spcPts val="800"/>
        </a:spcAft>
        <a:buFont typeface="Wingdings" panose="05000000000000000000" pitchFamily="2" charset="2"/>
        <a:buChar char="§"/>
        <a:defRPr sz="2400" kern="1200">
          <a:solidFill>
            <a:schemeClr val="tx2"/>
          </a:solidFill>
          <a:latin typeface="+mj-lt"/>
          <a:ea typeface="+mn-ea"/>
          <a:cs typeface="+mn-cs"/>
        </a:defRPr>
      </a:lvl2pPr>
      <a:lvl3pPr marL="1142869" indent="-228573" algn="l" defTabSz="914296" rtl="0" eaLnBrk="1" latinLnBrk="0" hangingPunct="1">
        <a:lnSpc>
          <a:spcPct val="90000"/>
        </a:lnSpc>
        <a:spcBef>
          <a:spcPts val="600"/>
        </a:spcBef>
        <a:spcAft>
          <a:spcPts val="600"/>
        </a:spcAft>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016"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163"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31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58"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05"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5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96" rtl="0" eaLnBrk="1" latinLnBrk="0" hangingPunct="1">
        <a:defRPr sz="1800" kern="1200">
          <a:solidFill>
            <a:schemeClr val="tx1"/>
          </a:solidFill>
          <a:latin typeface="+mn-lt"/>
          <a:ea typeface="+mn-ea"/>
          <a:cs typeface="+mn-cs"/>
        </a:defRPr>
      </a:lvl1pPr>
      <a:lvl2pPr marL="457147"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2" algn="l" defTabSz="914296" rtl="0" eaLnBrk="1" latinLnBrk="0" hangingPunct="1">
        <a:defRPr sz="1800" kern="1200">
          <a:solidFill>
            <a:schemeClr val="tx1"/>
          </a:solidFill>
          <a:latin typeface="+mn-lt"/>
          <a:ea typeface="+mn-ea"/>
          <a:cs typeface="+mn-cs"/>
        </a:defRPr>
      </a:lvl4pPr>
      <a:lvl5pPr marL="1828589" algn="l" defTabSz="914296" rtl="0" eaLnBrk="1" latinLnBrk="0" hangingPunct="1">
        <a:defRPr sz="1800" kern="1200">
          <a:solidFill>
            <a:schemeClr val="tx1"/>
          </a:solidFill>
          <a:latin typeface="+mn-lt"/>
          <a:ea typeface="+mn-ea"/>
          <a:cs typeface="+mn-cs"/>
        </a:defRPr>
      </a:lvl5pPr>
      <a:lvl6pPr marL="2285736" algn="l" defTabSz="914296" rtl="0" eaLnBrk="1" latinLnBrk="0" hangingPunct="1">
        <a:defRPr sz="1800" kern="1200">
          <a:solidFill>
            <a:schemeClr val="tx1"/>
          </a:solidFill>
          <a:latin typeface="+mn-lt"/>
          <a:ea typeface="+mn-ea"/>
          <a:cs typeface="+mn-cs"/>
        </a:defRPr>
      </a:lvl6pPr>
      <a:lvl7pPr marL="2742885" algn="l" defTabSz="914296" rtl="0" eaLnBrk="1" latinLnBrk="0" hangingPunct="1">
        <a:defRPr sz="1800" kern="1200">
          <a:solidFill>
            <a:schemeClr val="tx1"/>
          </a:solidFill>
          <a:latin typeface="+mn-lt"/>
          <a:ea typeface="+mn-ea"/>
          <a:cs typeface="+mn-cs"/>
        </a:defRPr>
      </a:lvl7pPr>
      <a:lvl8pPr marL="3200032" algn="l" defTabSz="914296" rtl="0" eaLnBrk="1" latinLnBrk="0" hangingPunct="1">
        <a:defRPr sz="1800" kern="1200">
          <a:solidFill>
            <a:schemeClr val="tx1"/>
          </a:solidFill>
          <a:latin typeface="+mn-lt"/>
          <a:ea typeface="+mn-ea"/>
          <a:cs typeface="+mn-cs"/>
        </a:defRPr>
      </a:lvl8pPr>
      <a:lvl9pPr marL="3657179" algn="l" defTabSz="91429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3404"/>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850448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9" r:id="rId17"/>
    <p:sldLayoutId id="2147484030" r:id="rId18"/>
    <p:sldLayoutId id="2147484031"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26868456"/>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95575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1468990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0"/>
            <a:ext cx="11151917" cy="51244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51" y="1447801"/>
            <a:ext cx="11151916" cy="158197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9504864" y="6534690"/>
            <a:ext cx="1953288" cy="2650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6A5D9">
                    <a:lumMod val="20000"/>
                    <a:lumOff val="80000"/>
                  </a:srgbClr>
                </a:solidFill>
                <a:effectLst/>
                <a:uLnTx/>
                <a:uFillTx/>
                <a:latin typeface="Segoe UI"/>
                <a:ea typeface="Segoe UI" pitchFamily="34" charset="0"/>
                <a:cs typeface="Segoe UI" pitchFamily="34" charset="0"/>
              </a:rPr>
              <a:t>Windows</a:t>
            </a:r>
            <a:r>
              <a:rPr kumimoji="0" lang="en-US" sz="1100" b="0" i="0" u="none" strike="noStrike" kern="1200" cap="none" spc="0" normalizeH="0" baseline="30000" noProof="0" dirty="0">
                <a:ln>
                  <a:noFill/>
                </a:ln>
                <a:solidFill>
                  <a:srgbClr val="16A5D9">
                    <a:lumMod val="20000"/>
                    <a:lumOff val="80000"/>
                  </a:srgbClr>
                </a:solidFill>
                <a:effectLst/>
                <a:uLnTx/>
                <a:uFillTx/>
                <a:latin typeface="Segoe UI"/>
                <a:ea typeface="Segoe UI" pitchFamily="34" charset="0"/>
                <a:cs typeface="Segoe UI" pitchFamily="34" charset="0"/>
              </a:rPr>
              <a:t>®</a:t>
            </a:r>
            <a:r>
              <a:rPr kumimoji="0" lang="en-US" sz="1100" b="0" i="0" u="none" strike="noStrike" kern="1200" cap="none" spc="0" normalizeH="0" baseline="0" noProof="0" dirty="0">
                <a:ln>
                  <a:noFill/>
                </a:ln>
                <a:solidFill>
                  <a:srgbClr val="16A5D9">
                    <a:lumMod val="20000"/>
                    <a:lumOff val="80000"/>
                  </a:srgbClr>
                </a:solidFill>
                <a:effectLst/>
                <a:uLnTx/>
                <a:uFillTx/>
                <a:latin typeface="Segoe UI"/>
                <a:ea typeface="Segoe UI" pitchFamily="34" charset="0"/>
                <a:cs typeface="Segoe UI" pitchFamily="34" charset="0"/>
              </a:rPr>
              <a:t> Azure™ Platform</a:t>
            </a:r>
          </a:p>
        </p:txBody>
      </p:sp>
    </p:spTree>
    <p:extLst>
      <p:ext uri="{BB962C8B-B14F-4D97-AF65-F5344CB8AC3E}">
        <p14:creationId xmlns:p14="http://schemas.microsoft.com/office/powerpoint/2010/main" val="1944552809"/>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transition>
    <p:fade/>
  </p:transition>
  <p:txStyles>
    <p:titleStyle>
      <a:lvl1pPr algn="l" defTabSz="713110" rtl="0" eaLnBrk="1" latinLnBrk="0" hangingPunct="1">
        <a:lnSpc>
          <a:spcPct val="90000"/>
        </a:lnSpc>
        <a:spcBef>
          <a:spcPct val="0"/>
        </a:spcBef>
        <a:buNone/>
        <a:defRPr lang="en-US" sz="3700" b="0" kern="1200" cap="none" spc="-156" baseline="0" dirty="0" smtClean="0">
          <a:ln w="3175">
            <a:noFill/>
          </a:ln>
          <a:gradFill flip="none" rotWithShape="1">
            <a:gsLst>
              <a:gs pos="0">
                <a:schemeClr val="tx1"/>
              </a:gs>
              <a:gs pos="86000">
                <a:schemeClr val="tx1"/>
              </a:gs>
            </a:gsLst>
            <a:lin ang="5400000" scaled="0"/>
            <a:tileRect/>
          </a:gradFill>
          <a:effectLst>
            <a:outerShdw blurRad="63500" algn="ctr" rotWithShape="0">
              <a:schemeClr val="tx1">
                <a:alpha val="50000"/>
              </a:schemeClr>
            </a:outerShdw>
          </a:effectLst>
          <a:latin typeface="+mj-lt"/>
          <a:ea typeface="+mn-ea"/>
          <a:cs typeface="Arial" charset="0"/>
        </a:defRPr>
      </a:lvl1pPr>
    </p:titleStyle>
    <p:bodyStyle>
      <a:lvl1pPr marL="311998" indent="-311998" algn="l" defTabSz="713110" rtl="0" eaLnBrk="1" latinLnBrk="0" hangingPunct="1">
        <a:lnSpc>
          <a:spcPct val="90000"/>
        </a:lnSpc>
        <a:spcBef>
          <a:spcPct val="20000"/>
        </a:spcBef>
        <a:buClr>
          <a:schemeClr val="tx2"/>
        </a:buClr>
        <a:buSzPct val="100000"/>
        <a:buFont typeface="Arial" pitchFamily="34" charset="0"/>
        <a:buChar char="•"/>
        <a:defRPr sz="2500" kern="1200">
          <a:gradFill>
            <a:gsLst>
              <a:gs pos="0">
                <a:schemeClr val="tx1"/>
              </a:gs>
              <a:gs pos="86000">
                <a:schemeClr val="tx1"/>
              </a:gs>
            </a:gsLst>
            <a:lin ang="5400000" scaled="0"/>
          </a:gradFill>
          <a:effectLst/>
          <a:latin typeface="+mn-lt"/>
          <a:ea typeface="+mn-ea"/>
          <a:cs typeface="+mn-cs"/>
        </a:defRPr>
      </a:lvl1pPr>
      <a:lvl2pPr marL="581900" indent="-269902" algn="l" defTabSz="713110" rtl="0" eaLnBrk="1" latinLnBrk="0" hangingPunct="1">
        <a:lnSpc>
          <a:spcPct val="90000"/>
        </a:lnSpc>
        <a:spcBef>
          <a:spcPct val="20000"/>
        </a:spcBef>
        <a:buClr>
          <a:schemeClr val="tx2"/>
        </a:buClr>
        <a:buSzPct val="100000"/>
        <a:buFont typeface="Arial" pitchFamily="34" charset="0"/>
        <a:buChar char="•"/>
        <a:defRPr sz="2200" kern="1200">
          <a:gradFill>
            <a:gsLst>
              <a:gs pos="0">
                <a:schemeClr val="tx1"/>
              </a:gs>
              <a:gs pos="86000">
                <a:schemeClr val="tx1"/>
              </a:gs>
            </a:gsLst>
            <a:lin ang="5400000" scaled="0"/>
          </a:gradFill>
          <a:effectLst/>
          <a:latin typeface="+mn-lt"/>
          <a:ea typeface="+mn-ea"/>
          <a:cs typeface="+mn-cs"/>
        </a:defRPr>
      </a:lvl2pPr>
      <a:lvl3pPr marL="844376" indent="-262474" algn="l" defTabSz="713110" rtl="0" eaLnBrk="1" latinLnBrk="0" hangingPunct="1">
        <a:lnSpc>
          <a:spcPct val="90000"/>
        </a:lnSpc>
        <a:spcBef>
          <a:spcPct val="20000"/>
        </a:spcBef>
        <a:buClr>
          <a:schemeClr val="tx2"/>
        </a:buClr>
        <a:buSzPct val="100000"/>
        <a:buFont typeface="Arial" pitchFamily="34" charset="0"/>
        <a:buChar char="•"/>
        <a:defRPr sz="1900" kern="1200">
          <a:gradFill>
            <a:gsLst>
              <a:gs pos="0">
                <a:schemeClr val="tx1"/>
              </a:gs>
              <a:gs pos="86000">
                <a:schemeClr val="tx1"/>
              </a:gs>
            </a:gsLst>
            <a:lin ang="5400000" scaled="0"/>
          </a:gradFill>
          <a:effectLst/>
          <a:latin typeface="+mn-lt"/>
          <a:ea typeface="+mn-ea"/>
          <a:cs typeface="+mn-cs"/>
        </a:defRPr>
      </a:lvl3pPr>
      <a:lvl4pPr marL="1072184" indent="-227808"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4pPr>
      <a:lvl5pPr marL="1295039" indent="-222857"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5pPr>
      <a:lvl6pPr marL="1961051"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7606"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4160"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30717"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3110" rtl="0" eaLnBrk="1" latinLnBrk="0" hangingPunct="1">
        <a:defRPr sz="1400" kern="1200">
          <a:solidFill>
            <a:schemeClr val="tx1"/>
          </a:solidFill>
          <a:latin typeface="+mn-lt"/>
          <a:ea typeface="+mn-ea"/>
          <a:cs typeface="+mn-cs"/>
        </a:defRPr>
      </a:lvl1pPr>
      <a:lvl2pPr marL="356555" algn="l" defTabSz="713110" rtl="0" eaLnBrk="1" latinLnBrk="0" hangingPunct="1">
        <a:defRPr sz="1400" kern="1200">
          <a:solidFill>
            <a:schemeClr val="tx1"/>
          </a:solidFill>
          <a:latin typeface="+mn-lt"/>
          <a:ea typeface="+mn-ea"/>
          <a:cs typeface="+mn-cs"/>
        </a:defRPr>
      </a:lvl2pPr>
      <a:lvl3pPr marL="713110" algn="l" defTabSz="713110" rtl="0" eaLnBrk="1" latinLnBrk="0" hangingPunct="1">
        <a:defRPr sz="1400" kern="1200">
          <a:solidFill>
            <a:schemeClr val="tx1"/>
          </a:solidFill>
          <a:latin typeface="+mn-lt"/>
          <a:ea typeface="+mn-ea"/>
          <a:cs typeface="+mn-cs"/>
        </a:defRPr>
      </a:lvl3pPr>
      <a:lvl4pPr marL="1069664" algn="l" defTabSz="713110" rtl="0" eaLnBrk="1" latinLnBrk="0" hangingPunct="1">
        <a:defRPr sz="1400" kern="1200">
          <a:solidFill>
            <a:schemeClr val="tx1"/>
          </a:solidFill>
          <a:latin typeface="+mn-lt"/>
          <a:ea typeface="+mn-ea"/>
          <a:cs typeface="+mn-cs"/>
        </a:defRPr>
      </a:lvl4pPr>
      <a:lvl5pPr marL="1426219" algn="l" defTabSz="713110" rtl="0" eaLnBrk="1" latinLnBrk="0" hangingPunct="1">
        <a:defRPr sz="1400" kern="1200">
          <a:solidFill>
            <a:schemeClr val="tx1"/>
          </a:solidFill>
          <a:latin typeface="+mn-lt"/>
          <a:ea typeface="+mn-ea"/>
          <a:cs typeface="+mn-cs"/>
        </a:defRPr>
      </a:lvl5pPr>
      <a:lvl6pPr marL="1782775" algn="l" defTabSz="713110" rtl="0" eaLnBrk="1" latinLnBrk="0" hangingPunct="1">
        <a:defRPr sz="1400" kern="1200">
          <a:solidFill>
            <a:schemeClr val="tx1"/>
          </a:solidFill>
          <a:latin typeface="+mn-lt"/>
          <a:ea typeface="+mn-ea"/>
          <a:cs typeface="+mn-cs"/>
        </a:defRPr>
      </a:lvl6pPr>
      <a:lvl7pPr marL="2139329" algn="l" defTabSz="713110" rtl="0" eaLnBrk="1" latinLnBrk="0" hangingPunct="1">
        <a:defRPr sz="1400" kern="1200">
          <a:solidFill>
            <a:schemeClr val="tx1"/>
          </a:solidFill>
          <a:latin typeface="+mn-lt"/>
          <a:ea typeface="+mn-ea"/>
          <a:cs typeface="+mn-cs"/>
        </a:defRPr>
      </a:lvl7pPr>
      <a:lvl8pPr marL="2495884" algn="l" defTabSz="713110" rtl="0" eaLnBrk="1" latinLnBrk="0" hangingPunct="1">
        <a:defRPr sz="1400" kern="1200">
          <a:solidFill>
            <a:schemeClr val="tx1"/>
          </a:solidFill>
          <a:latin typeface="+mn-lt"/>
          <a:ea typeface="+mn-ea"/>
          <a:cs typeface="+mn-cs"/>
        </a:defRPr>
      </a:lvl8pPr>
      <a:lvl9pPr marL="2852438" algn="l" defTabSz="71311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25127594"/>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8140638"/>
      </p:ext>
    </p:extLst>
  </p:cSld>
  <p:clrMap bg1="dk1" tx1="lt1" bg2="dk2" tx2="lt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88141897"/>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ko-KR" altLang="en-US"/>
              <a:t>마스터 제목 스타일 편집</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en-US" dirty="0"/>
          </a:p>
        </p:txBody>
      </p:sp>
      <p:pic>
        <p:nvPicPr>
          <p:cNvPr id="5" name="Picture 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8609124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3" r:id="rId33"/>
    <p:sldLayoutId id="2147483924" r:id="rId34"/>
    <p:sldLayoutId id="2147483925" r:id="rId35"/>
    <p:sldLayoutId id="2147483926" r:id="rId36"/>
    <p:sldLayoutId id="2147483927" r:id="rId37"/>
    <p:sldLayoutId id="2147483928" r:id="rId38"/>
  </p:sldLayoutIdLst>
  <p:transition>
    <p:fade/>
  </p:transition>
  <p:txStyles>
    <p:titleStyle>
      <a:lvl1pPr algn="l" defTabSz="914367" rtl="0" eaLnBrk="1" latinLnBrk="1"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1"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1"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1" hangingPunct="1">
        <a:defRPr sz="1765" kern="1200">
          <a:solidFill>
            <a:schemeClr val="tx1"/>
          </a:solidFill>
          <a:latin typeface="+mn-lt"/>
          <a:ea typeface="+mn-ea"/>
          <a:cs typeface="+mn-cs"/>
        </a:defRPr>
      </a:lvl1pPr>
      <a:lvl2pPr marL="457183" algn="l" defTabSz="914367" rtl="0" eaLnBrk="1" latinLnBrk="1" hangingPunct="1">
        <a:defRPr sz="1765" kern="1200">
          <a:solidFill>
            <a:schemeClr val="tx1"/>
          </a:solidFill>
          <a:latin typeface="+mn-lt"/>
          <a:ea typeface="+mn-ea"/>
          <a:cs typeface="+mn-cs"/>
        </a:defRPr>
      </a:lvl2pPr>
      <a:lvl3pPr marL="914367" algn="l" defTabSz="914367" rtl="0" eaLnBrk="1" latinLnBrk="1" hangingPunct="1">
        <a:defRPr sz="1765" kern="1200">
          <a:solidFill>
            <a:schemeClr val="tx1"/>
          </a:solidFill>
          <a:latin typeface="+mn-lt"/>
          <a:ea typeface="+mn-ea"/>
          <a:cs typeface="+mn-cs"/>
        </a:defRPr>
      </a:lvl3pPr>
      <a:lvl4pPr marL="1371550" algn="l" defTabSz="914367" rtl="0" eaLnBrk="1" latinLnBrk="1" hangingPunct="1">
        <a:defRPr sz="1765" kern="1200">
          <a:solidFill>
            <a:schemeClr val="tx1"/>
          </a:solidFill>
          <a:latin typeface="+mn-lt"/>
          <a:ea typeface="+mn-ea"/>
          <a:cs typeface="+mn-cs"/>
        </a:defRPr>
      </a:lvl4pPr>
      <a:lvl5pPr marL="1828734" algn="l" defTabSz="914367" rtl="0" eaLnBrk="1" latinLnBrk="1" hangingPunct="1">
        <a:defRPr sz="1765" kern="1200">
          <a:solidFill>
            <a:schemeClr val="tx1"/>
          </a:solidFill>
          <a:latin typeface="+mn-lt"/>
          <a:ea typeface="+mn-ea"/>
          <a:cs typeface="+mn-cs"/>
        </a:defRPr>
      </a:lvl5pPr>
      <a:lvl6pPr marL="2285918" algn="l" defTabSz="914367" rtl="0" eaLnBrk="1" latinLnBrk="1" hangingPunct="1">
        <a:defRPr sz="1765" kern="1200">
          <a:solidFill>
            <a:schemeClr val="tx1"/>
          </a:solidFill>
          <a:latin typeface="+mn-lt"/>
          <a:ea typeface="+mn-ea"/>
          <a:cs typeface="+mn-cs"/>
        </a:defRPr>
      </a:lvl6pPr>
      <a:lvl7pPr marL="2743101" algn="l" defTabSz="914367" rtl="0" eaLnBrk="1" latinLnBrk="1" hangingPunct="1">
        <a:defRPr sz="1765" kern="1200">
          <a:solidFill>
            <a:schemeClr val="tx1"/>
          </a:solidFill>
          <a:latin typeface="+mn-lt"/>
          <a:ea typeface="+mn-ea"/>
          <a:cs typeface="+mn-cs"/>
        </a:defRPr>
      </a:lvl7pPr>
      <a:lvl8pPr marL="3200284" algn="l" defTabSz="914367" rtl="0" eaLnBrk="1" latinLnBrk="1" hangingPunct="1">
        <a:defRPr sz="1765" kern="1200">
          <a:solidFill>
            <a:schemeClr val="tx1"/>
          </a:solidFill>
          <a:latin typeface="+mn-lt"/>
          <a:ea typeface="+mn-ea"/>
          <a:cs typeface="+mn-cs"/>
        </a:defRPr>
      </a:lvl8pPr>
      <a:lvl9pPr marL="3657469" algn="l" defTabSz="914367" rtl="0" eaLnBrk="1" latinLnBrk="1"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74"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64"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57200" y="252216"/>
            <a:ext cx="10971867" cy="661720"/>
          </a:xfrm>
          <a:prstGeom prst="rect">
            <a:avLst/>
          </a:prstGeom>
        </p:spPr>
        <p:txBody>
          <a:bodyPr vert="horz" lIns="149143" tIns="0" rIns="149143"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57200" y="1611534"/>
            <a:ext cx="10971867" cy="4526343"/>
          </a:xfrm>
          <a:prstGeom prst="rect">
            <a:avLst/>
          </a:prstGeom>
        </p:spPr>
        <p:txBody>
          <a:bodyPr vert="horz" lIns="93212" tIns="46607" rIns="93212" bIns="4660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5" name="Object 4" hidden="1"/>
          <p:cNvGraphicFramePr>
            <a:graphicFrameLocks noChangeAspect="1"/>
          </p:cNvGraphicFramePr>
          <p:nvPr>
            <p:custDataLst>
              <p:tags r:id="rId22"/>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75"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4"/>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947940518"/>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2" r:id="rId12"/>
    <p:sldLayoutId id="2147483943" r:id="rId13"/>
    <p:sldLayoutId id="2147483944" r:id="rId14"/>
    <p:sldLayoutId id="2147483945" r:id="rId15"/>
    <p:sldLayoutId id="2147483946" r:id="rId16"/>
    <p:sldLayoutId id="2147483947" r:id="rId17"/>
    <p:sldLayoutId id="2147483948" r:id="rId18"/>
  </p:sldLayoutIdLst>
  <p:transition>
    <p:fade/>
  </p:transition>
  <p:txStyles>
    <p:titleStyle>
      <a:lvl1pPr algn="l" defTabSz="895581" rtl="0" eaLnBrk="1" latinLnBrk="0" hangingPunct="1">
        <a:spcBef>
          <a:spcPct val="0"/>
        </a:spcBef>
        <a:buNone/>
        <a:defRPr sz="4313" kern="1200">
          <a:solidFill>
            <a:schemeClr val="bg1"/>
          </a:solidFill>
          <a:latin typeface="Segoe UI Light" pitchFamily="34" charset="0"/>
          <a:ea typeface="+mj-ea"/>
          <a:cs typeface="+mj-cs"/>
        </a:defRPr>
      </a:lvl1pPr>
    </p:titleStyle>
    <p:bodyStyle>
      <a:lvl1pPr marL="335842" indent="-335842" algn="l" defTabSz="895581" rtl="0" eaLnBrk="1" latinLnBrk="0" hangingPunct="1">
        <a:spcBef>
          <a:spcPct val="20000"/>
        </a:spcBef>
        <a:buFont typeface="Arial" pitchFamily="34" charset="0"/>
        <a:buChar char="•"/>
        <a:defRPr sz="3235" kern="1200">
          <a:solidFill>
            <a:schemeClr val="bg1"/>
          </a:solidFill>
          <a:latin typeface="Segoe UI" pitchFamily="34" charset="0"/>
          <a:ea typeface="Segoe UI" pitchFamily="34" charset="0"/>
          <a:cs typeface="Segoe UI" pitchFamily="34" charset="0"/>
        </a:defRPr>
      </a:lvl1pPr>
      <a:lvl2pPr marL="727659" indent="-279869" algn="l" defTabSz="895581" rtl="0" eaLnBrk="1" latinLnBrk="0" hangingPunct="1">
        <a:spcBef>
          <a:spcPct val="20000"/>
        </a:spcBef>
        <a:buFont typeface="Arial" pitchFamily="34" charset="0"/>
        <a:buChar char="–"/>
        <a:defRPr sz="2843" kern="1200">
          <a:solidFill>
            <a:schemeClr val="bg1"/>
          </a:solidFill>
          <a:latin typeface="Segoe UI" pitchFamily="34" charset="0"/>
          <a:ea typeface="Segoe UI" pitchFamily="34" charset="0"/>
          <a:cs typeface="Segoe UI" pitchFamily="34" charset="0"/>
        </a:defRPr>
      </a:lvl2pPr>
      <a:lvl3pPr marL="1119476" indent="-223897" algn="l" defTabSz="895581"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7264"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5055"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284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0640"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5842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6219"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5581" rtl="0" eaLnBrk="1" latinLnBrk="0" hangingPunct="1">
        <a:defRPr sz="1667" kern="1200">
          <a:solidFill>
            <a:schemeClr val="tx1"/>
          </a:solidFill>
          <a:latin typeface="+mn-lt"/>
          <a:ea typeface="+mn-ea"/>
          <a:cs typeface="+mn-cs"/>
        </a:defRPr>
      </a:lvl1pPr>
      <a:lvl2pPr marL="447789" algn="l" defTabSz="895581" rtl="0" eaLnBrk="1" latinLnBrk="0" hangingPunct="1">
        <a:defRPr sz="1667" kern="1200">
          <a:solidFill>
            <a:schemeClr val="tx1"/>
          </a:solidFill>
          <a:latin typeface="+mn-lt"/>
          <a:ea typeface="+mn-ea"/>
          <a:cs typeface="+mn-cs"/>
        </a:defRPr>
      </a:lvl2pPr>
      <a:lvl3pPr marL="895581" algn="l" defTabSz="895581" rtl="0" eaLnBrk="1" latinLnBrk="0" hangingPunct="1">
        <a:defRPr sz="1667" kern="1200">
          <a:solidFill>
            <a:schemeClr val="tx1"/>
          </a:solidFill>
          <a:latin typeface="+mn-lt"/>
          <a:ea typeface="+mn-ea"/>
          <a:cs typeface="+mn-cs"/>
        </a:defRPr>
      </a:lvl3pPr>
      <a:lvl4pPr marL="1343372" algn="l" defTabSz="895581" rtl="0" eaLnBrk="1" latinLnBrk="0" hangingPunct="1">
        <a:defRPr sz="1667" kern="1200">
          <a:solidFill>
            <a:schemeClr val="tx1"/>
          </a:solidFill>
          <a:latin typeface="+mn-lt"/>
          <a:ea typeface="+mn-ea"/>
          <a:cs typeface="+mn-cs"/>
        </a:defRPr>
      </a:lvl4pPr>
      <a:lvl5pPr marL="1791164" algn="l" defTabSz="895581" rtl="0" eaLnBrk="1" latinLnBrk="0" hangingPunct="1">
        <a:defRPr sz="1667" kern="1200">
          <a:solidFill>
            <a:schemeClr val="tx1"/>
          </a:solidFill>
          <a:latin typeface="+mn-lt"/>
          <a:ea typeface="+mn-ea"/>
          <a:cs typeface="+mn-cs"/>
        </a:defRPr>
      </a:lvl5pPr>
      <a:lvl6pPr marL="2238952" algn="l" defTabSz="895581" rtl="0" eaLnBrk="1" latinLnBrk="0" hangingPunct="1">
        <a:defRPr sz="1667" kern="1200">
          <a:solidFill>
            <a:schemeClr val="tx1"/>
          </a:solidFill>
          <a:latin typeface="+mn-lt"/>
          <a:ea typeface="+mn-ea"/>
          <a:cs typeface="+mn-cs"/>
        </a:defRPr>
      </a:lvl6pPr>
      <a:lvl7pPr marL="2686743" algn="l" defTabSz="895581" rtl="0" eaLnBrk="1" latinLnBrk="0" hangingPunct="1">
        <a:defRPr sz="1667" kern="1200">
          <a:solidFill>
            <a:schemeClr val="tx1"/>
          </a:solidFill>
          <a:latin typeface="+mn-lt"/>
          <a:ea typeface="+mn-ea"/>
          <a:cs typeface="+mn-cs"/>
        </a:defRPr>
      </a:lvl7pPr>
      <a:lvl8pPr marL="3134533" algn="l" defTabSz="895581" rtl="0" eaLnBrk="1" latinLnBrk="0" hangingPunct="1">
        <a:defRPr sz="1667" kern="1200">
          <a:solidFill>
            <a:schemeClr val="tx1"/>
          </a:solidFill>
          <a:latin typeface="+mn-lt"/>
          <a:ea typeface="+mn-ea"/>
          <a:cs typeface="+mn-cs"/>
        </a:defRPr>
      </a:lvl8pPr>
      <a:lvl9pPr marL="3582322" algn="l" defTabSz="895581" rtl="0" eaLnBrk="1" latinLnBrk="0" hangingPunct="1">
        <a:defRPr sz="16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5.xml"/></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298.xml"/><Relationship Id="rId4" Type="http://schemas.openxmlformats.org/officeDocument/2006/relationships/image" Target="../media/image97.png"/></Relationships>
</file>

<file path=ppt/slides/_rels/slide1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1.xml"/><Relationship Id="rId1" Type="http://schemas.openxmlformats.org/officeDocument/2006/relationships/slideLayout" Target="../slideLayouts/slideLayout298.xml"/><Relationship Id="rId4" Type="http://schemas.openxmlformats.org/officeDocument/2006/relationships/image" Target="../media/image99.png"/></Relationships>
</file>

<file path=ppt/slides/_rels/slide13.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notesSlide" Target="../notesSlides/notesSlide12.xml"/><Relationship Id="rId1" Type="http://schemas.openxmlformats.org/officeDocument/2006/relationships/slideLayout" Target="../slideLayouts/slideLayout298.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s>
</file>

<file path=ppt/slides/_rels/slide1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3.xml"/><Relationship Id="rId1" Type="http://schemas.openxmlformats.org/officeDocument/2006/relationships/slideLayout" Target="../slideLayouts/slideLayout285.xml"/><Relationship Id="rId4" Type="http://schemas.openxmlformats.org/officeDocument/2006/relationships/image" Target="../media/image11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5.xml"/></Relationships>
</file>

<file path=ppt/slides/_rels/slide17.xml.rels><?xml version="1.0" encoding="UTF-8" standalone="yes"?>
<Relationships xmlns="http://schemas.openxmlformats.org/package/2006/relationships"><Relationship Id="rId3" Type="http://schemas.openxmlformats.org/officeDocument/2006/relationships/hyperlink" Target="https://code.visualstudio.com/Home/Connect" TargetMode="External"/><Relationship Id="rId2" Type="http://schemas.openxmlformats.org/officeDocument/2006/relationships/hyperlink" Target="http://code.visualstudio.com/" TargetMode="External"/><Relationship Id="rId1" Type="http://schemas.openxmlformats.org/officeDocument/2006/relationships/slideLayout" Target="../slideLayouts/slideLayout284.xml"/></Relationships>
</file>

<file path=ppt/slides/_rels/slide18.xml.rels><?xml version="1.0" encoding="UTF-8" standalone="yes"?>
<Relationships xmlns="http://schemas.openxmlformats.org/package/2006/relationships"><Relationship Id="rId8" Type="http://schemas.openxmlformats.org/officeDocument/2006/relationships/hyperlink" Target="http://jpapa.me/vscodetsdemo" TargetMode="External"/><Relationship Id="rId3" Type="http://schemas.openxmlformats.org/officeDocument/2006/relationships/hyperlink" Target="http://www.omnisharp.net/" TargetMode="External"/><Relationship Id="rId7" Type="http://schemas.openxmlformats.org/officeDocument/2006/relationships/hyperlink" Target="http://johnpapa.net/visual-studio-code" TargetMode="External"/><Relationship Id="rId2" Type="http://schemas.openxmlformats.org/officeDocument/2006/relationships/notesSlide" Target="../notesSlides/notesSlide16.xml"/><Relationship Id="rId1" Type="http://schemas.openxmlformats.org/officeDocument/2006/relationships/slideLayout" Target="../slideLayouts/slideLayout285.xml"/><Relationship Id="rId6" Type="http://schemas.openxmlformats.org/officeDocument/2006/relationships/hyperlink" Target="http://jpapa.me/ngstyles" TargetMode="External"/><Relationship Id="rId5" Type="http://schemas.openxmlformats.org/officeDocument/2006/relationships/hyperlink" Target="http://jpapa.me/yohottowel" TargetMode="External"/><Relationship Id="rId4" Type="http://schemas.openxmlformats.org/officeDocument/2006/relationships/hyperlink" Target="http://www.typescriptlang.or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3.xml"/></Relationships>
</file>

<file path=ppt/slides/_rels/slide3.xml.rels><?xml version="1.0" encoding="UTF-8" standalone="yes"?>
<Relationships xmlns="http://schemas.openxmlformats.org/package/2006/relationships"><Relationship Id="rId3" Type="http://schemas.openxmlformats.org/officeDocument/2006/relationships/image" Target="../media/image90.tiff"/><Relationship Id="rId2" Type="http://schemas.openxmlformats.org/officeDocument/2006/relationships/notesSlide" Target="../notesSlides/notesSlide3.xml"/><Relationship Id="rId1" Type="http://schemas.openxmlformats.org/officeDocument/2006/relationships/slideLayout" Target="../slideLayouts/slideLayout283.xml"/></Relationships>
</file>

<file path=ppt/slides/_rels/slide4.xml.rels><?xml version="1.0" encoding="UTF-8" standalone="yes"?>
<Relationships xmlns="http://schemas.openxmlformats.org/package/2006/relationships"><Relationship Id="rId2" Type="http://schemas.openxmlformats.org/officeDocument/2006/relationships/image" Target="../media/image91.tiff"/><Relationship Id="rId1" Type="http://schemas.openxmlformats.org/officeDocument/2006/relationships/slideLayout" Target="../slideLayouts/slideLayout283.xml"/></Relationships>
</file>

<file path=ppt/slides/_rels/slide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8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5.xml"/></Relationships>
</file>

<file path=ppt/slides/_rels/slide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285.xml"/></Relationships>
</file>

<file path=ppt/slides/_rels/slide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285.xml"/><Relationship Id="rId4" Type="http://schemas.openxmlformats.org/officeDocument/2006/relationships/image" Target="../media/image9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90"/>
          <p:cNvSpPr/>
          <p:nvPr/>
        </p:nvSpPr>
        <p:spPr bwMode="auto">
          <a:xfrm>
            <a:off x="7390165" y="1205164"/>
            <a:ext cx="2914796" cy="5659643"/>
          </a:xfrm>
          <a:custGeom>
            <a:avLst/>
            <a:gdLst>
              <a:gd name="connsiteX0" fmla="*/ 0 w 3898900"/>
              <a:gd name="connsiteY0" fmla="*/ 0 h 6413500"/>
              <a:gd name="connsiteX1" fmla="*/ 0 w 3898900"/>
              <a:gd name="connsiteY1" fmla="*/ 88900 h 6413500"/>
              <a:gd name="connsiteX2" fmla="*/ 660400 w 3898900"/>
              <a:gd name="connsiteY2" fmla="*/ 812800 h 6413500"/>
              <a:gd name="connsiteX3" fmla="*/ 1663700 w 3898900"/>
              <a:gd name="connsiteY3" fmla="*/ 812800 h 6413500"/>
              <a:gd name="connsiteX4" fmla="*/ 2362200 w 3898900"/>
              <a:gd name="connsiteY4" fmla="*/ 1282700 h 6413500"/>
              <a:gd name="connsiteX5" fmla="*/ 2362200 w 3898900"/>
              <a:gd name="connsiteY5" fmla="*/ 1803400 h 6413500"/>
              <a:gd name="connsiteX6" fmla="*/ 2933700 w 3898900"/>
              <a:gd name="connsiteY6" fmla="*/ 2374900 h 6413500"/>
              <a:gd name="connsiteX7" fmla="*/ 3314700 w 3898900"/>
              <a:gd name="connsiteY7" fmla="*/ 2387600 h 6413500"/>
              <a:gd name="connsiteX8" fmla="*/ 3898900 w 3898900"/>
              <a:gd name="connsiteY8" fmla="*/ 2908300 h 6413500"/>
              <a:gd name="connsiteX9" fmla="*/ 3886200 w 3898900"/>
              <a:gd name="connsiteY9" fmla="*/ 4203700 h 6413500"/>
              <a:gd name="connsiteX10" fmla="*/ 3327400 w 3898900"/>
              <a:gd name="connsiteY10" fmla="*/ 4775200 h 6413500"/>
              <a:gd name="connsiteX11" fmla="*/ 2921000 w 3898900"/>
              <a:gd name="connsiteY11" fmla="*/ 4762500 h 6413500"/>
              <a:gd name="connsiteX12" fmla="*/ 2374900 w 3898900"/>
              <a:gd name="connsiteY12" fmla="*/ 5219700 h 6413500"/>
              <a:gd name="connsiteX13" fmla="*/ 2349500 w 3898900"/>
              <a:gd name="connsiteY13"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2921508 w 3886708"/>
              <a:gd name="connsiteY5" fmla="*/ 2387092 h 6425692"/>
              <a:gd name="connsiteX6" fmla="*/ 3302508 w 3886708"/>
              <a:gd name="connsiteY6" fmla="*/ 2399792 h 6425692"/>
              <a:gd name="connsiteX7" fmla="*/ 3886708 w 3886708"/>
              <a:gd name="connsiteY7" fmla="*/ 2920492 h 6425692"/>
              <a:gd name="connsiteX8" fmla="*/ 3874008 w 3886708"/>
              <a:gd name="connsiteY8" fmla="*/ 4215892 h 6425692"/>
              <a:gd name="connsiteX9" fmla="*/ 3315208 w 3886708"/>
              <a:gd name="connsiteY9" fmla="*/ 4787392 h 6425692"/>
              <a:gd name="connsiteX10" fmla="*/ 2908808 w 3886708"/>
              <a:gd name="connsiteY10" fmla="*/ 4774692 h 6425692"/>
              <a:gd name="connsiteX11" fmla="*/ 2362708 w 3886708"/>
              <a:gd name="connsiteY11" fmla="*/ 5231892 h 6425692"/>
              <a:gd name="connsiteX12" fmla="*/ 2337308 w 3886708"/>
              <a:gd name="connsiteY12"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495923 w 3886708"/>
              <a:gd name="connsiteY3" fmla="*/ 130380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243004 w 3886708"/>
              <a:gd name="connsiteY3" fmla="*/ 133944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64220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85107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26548"/>
              <a:gd name="connsiteY0" fmla="*/ 0 h 6417154"/>
              <a:gd name="connsiteX1" fmla="*/ 486725 w 3726548"/>
              <a:gd name="connsiteY1" fmla="*/ 816454 h 6417154"/>
              <a:gd name="connsiteX2" fmla="*/ 1490025 w 3726548"/>
              <a:gd name="connsiteY2" fmla="*/ 816454 h 6417154"/>
              <a:gd name="connsiteX3" fmla="*/ 2375204 w 3726548"/>
              <a:gd name="connsiteY3" fmla="*/ 1286354 h 6417154"/>
              <a:gd name="connsiteX4" fmla="*/ 3251157 w 3726548"/>
              <a:gd name="connsiteY4" fmla="*/ 2391254 h 6417154"/>
              <a:gd name="connsiteX5" fmla="*/ 3725225 w 3726548"/>
              <a:gd name="connsiteY5" fmla="*/ 2911954 h 6417154"/>
              <a:gd name="connsiteX6" fmla="*/ 3712525 w 3726548"/>
              <a:gd name="connsiteY6" fmla="*/ 4207354 h 6417154"/>
              <a:gd name="connsiteX7" fmla="*/ 3156711 w 3726548"/>
              <a:gd name="connsiteY7" fmla="*/ 4773038 h 6417154"/>
              <a:gd name="connsiteX8" fmla="*/ 2747325 w 3726548"/>
              <a:gd name="connsiteY8" fmla="*/ 4766154 h 6417154"/>
              <a:gd name="connsiteX9" fmla="*/ 2201225 w 3726548"/>
              <a:gd name="connsiteY9" fmla="*/ 5223354 h 6417154"/>
              <a:gd name="connsiteX10" fmla="*/ 2190339 w 3726548"/>
              <a:gd name="connsiteY10" fmla="*/ 6417154 h 6417154"/>
              <a:gd name="connsiteX0" fmla="*/ 26358 w 3752906"/>
              <a:gd name="connsiteY0" fmla="*/ 0 h 6417154"/>
              <a:gd name="connsiteX1" fmla="*/ 513083 w 3752906"/>
              <a:gd name="connsiteY1" fmla="*/ 816454 h 6417154"/>
              <a:gd name="connsiteX2" fmla="*/ 1516383 w 3752906"/>
              <a:gd name="connsiteY2" fmla="*/ 816454 h 6417154"/>
              <a:gd name="connsiteX3" fmla="*/ 2401562 w 3752906"/>
              <a:gd name="connsiteY3" fmla="*/ 1286354 h 6417154"/>
              <a:gd name="connsiteX4" fmla="*/ 3277515 w 3752906"/>
              <a:gd name="connsiteY4" fmla="*/ 2391254 h 6417154"/>
              <a:gd name="connsiteX5" fmla="*/ 3751583 w 3752906"/>
              <a:gd name="connsiteY5" fmla="*/ 2911954 h 6417154"/>
              <a:gd name="connsiteX6" fmla="*/ 3738883 w 3752906"/>
              <a:gd name="connsiteY6" fmla="*/ 4207354 h 6417154"/>
              <a:gd name="connsiteX7" fmla="*/ 3183069 w 3752906"/>
              <a:gd name="connsiteY7" fmla="*/ 4773038 h 6417154"/>
              <a:gd name="connsiteX8" fmla="*/ 2773683 w 3752906"/>
              <a:gd name="connsiteY8" fmla="*/ 4766154 h 6417154"/>
              <a:gd name="connsiteX9" fmla="*/ 2227583 w 3752906"/>
              <a:gd name="connsiteY9" fmla="*/ 5223354 h 6417154"/>
              <a:gd name="connsiteX10" fmla="*/ 2216697 w 3752906"/>
              <a:gd name="connsiteY10" fmla="*/ 6417154 h 6417154"/>
              <a:gd name="connsiteX0" fmla="*/ 11982 w 3738530"/>
              <a:gd name="connsiteY0" fmla="*/ 0 h 6417154"/>
              <a:gd name="connsiteX1" fmla="*/ 498707 w 3738530"/>
              <a:gd name="connsiteY1" fmla="*/ 816454 h 6417154"/>
              <a:gd name="connsiteX2" fmla="*/ 1502007 w 3738530"/>
              <a:gd name="connsiteY2" fmla="*/ 816454 h 6417154"/>
              <a:gd name="connsiteX3" fmla="*/ 2387186 w 3738530"/>
              <a:gd name="connsiteY3" fmla="*/ 1286354 h 6417154"/>
              <a:gd name="connsiteX4" fmla="*/ 3263139 w 3738530"/>
              <a:gd name="connsiteY4" fmla="*/ 2391254 h 6417154"/>
              <a:gd name="connsiteX5" fmla="*/ 3737207 w 3738530"/>
              <a:gd name="connsiteY5" fmla="*/ 2911954 h 6417154"/>
              <a:gd name="connsiteX6" fmla="*/ 3724507 w 3738530"/>
              <a:gd name="connsiteY6" fmla="*/ 4207354 h 6417154"/>
              <a:gd name="connsiteX7" fmla="*/ 3168693 w 3738530"/>
              <a:gd name="connsiteY7" fmla="*/ 4773038 h 6417154"/>
              <a:gd name="connsiteX8" fmla="*/ 2759307 w 3738530"/>
              <a:gd name="connsiteY8" fmla="*/ 4766154 h 6417154"/>
              <a:gd name="connsiteX9" fmla="*/ 2213207 w 3738530"/>
              <a:gd name="connsiteY9" fmla="*/ 5223354 h 6417154"/>
              <a:gd name="connsiteX10" fmla="*/ 2202321 w 3738530"/>
              <a:gd name="connsiteY10" fmla="*/ 6417154 h 6417154"/>
              <a:gd name="connsiteX0" fmla="*/ 5254 w 3731802"/>
              <a:gd name="connsiteY0" fmla="*/ 0 h 6417154"/>
              <a:gd name="connsiteX1" fmla="*/ 491979 w 3731802"/>
              <a:gd name="connsiteY1" fmla="*/ 816454 h 6417154"/>
              <a:gd name="connsiteX2" fmla="*/ 1495279 w 3731802"/>
              <a:gd name="connsiteY2" fmla="*/ 816454 h 6417154"/>
              <a:gd name="connsiteX3" fmla="*/ 2380458 w 3731802"/>
              <a:gd name="connsiteY3" fmla="*/ 1286354 h 6417154"/>
              <a:gd name="connsiteX4" fmla="*/ 3256411 w 3731802"/>
              <a:gd name="connsiteY4" fmla="*/ 2391254 h 6417154"/>
              <a:gd name="connsiteX5" fmla="*/ 3730479 w 3731802"/>
              <a:gd name="connsiteY5" fmla="*/ 2911954 h 6417154"/>
              <a:gd name="connsiteX6" fmla="*/ 3717779 w 3731802"/>
              <a:gd name="connsiteY6" fmla="*/ 4207354 h 6417154"/>
              <a:gd name="connsiteX7" fmla="*/ 3161965 w 3731802"/>
              <a:gd name="connsiteY7" fmla="*/ 4773038 h 6417154"/>
              <a:gd name="connsiteX8" fmla="*/ 2752579 w 3731802"/>
              <a:gd name="connsiteY8" fmla="*/ 4766154 h 6417154"/>
              <a:gd name="connsiteX9" fmla="*/ 2206479 w 3731802"/>
              <a:gd name="connsiteY9" fmla="*/ 5223354 h 6417154"/>
              <a:gd name="connsiteX10" fmla="*/ 2195593 w 3731802"/>
              <a:gd name="connsiteY10" fmla="*/ 6417154 h 6417154"/>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192323 w 3728532"/>
              <a:gd name="connsiteY10" fmla="*/ 6417154 h 6417154"/>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198294 w 3728532"/>
              <a:gd name="connsiteY10" fmla="*/ 6414246 h 6414246"/>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204266 w 3728532"/>
              <a:gd name="connsiteY10" fmla="*/ 6414246 h 6414246"/>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201281 w 3728532"/>
              <a:gd name="connsiteY10" fmla="*/ 6417154 h 641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8532" h="6417154">
                <a:moveTo>
                  <a:pt x="1984" y="0"/>
                </a:moveTo>
                <a:cubicBezTo>
                  <a:pt x="288" y="277629"/>
                  <a:pt x="-50524" y="820945"/>
                  <a:pt x="488709" y="816454"/>
                </a:cubicBezTo>
                <a:lnTo>
                  <a:pt x="1492009" y="816454"/>
                </a:lnTo>
                <a:cubicBezTo>
                  <a:pt x="1993944" y="817428"/>
                  <a:pt x="2384525" y="831620"/>
                  <a:pt x="2377188" y="1286354"/>
                </a:cubicBezTo>
                <a:cubicBezTo>
                  <a:pt x="2402588" y="1968741"/>
                  <a:pt x="2211741" y="2476635"/>
                  <a:pt x="3253141" y="2391254"/>
                </a:cubicBezTo>
                <a:cubicBezTo>
                  <a:pt x="3717451" y="2361621"/>
                  <a:pt x="3735634" y="2716962"/>
                  <a:pt x="3727209" y="2911954"/>
                </a:cubicBezTo>
                <a:lnTo>
                  <a:pt x="3714509" y="4207354"/>
                </a:lnTo>
                <a:cubicBezTo>
                  <a:pt x="3741828" y="4664554"/>
                  <a:pt x="3467463" y="4776719"/>
                  <a:pt x="3158695" y="4773038"/>
                </a:cubicBezTo>
                <a:lnTo>
                  <a:pt x="2749309" y="4766154"/>
                </a:lnTo>
                <a:cubicBezTo>
                  <a:pt x="2287876" y="4748998"/>
                  <a:pt x="2207442" y="5109054"/>
                  <a:pt x="2203209" y="5223354"/>
                </a:cubicBezTo>
                <a:cubicBezTo>
                  <a:pt x="2199580" y="5621287"/>
                  <a:pt x="2204910" y="6019221"/>
                  <a:pt x="2201281" y="6417154"/>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91"/>
          <p:cNvSpPr/>
          <p:nvPr/>
        </p:nvSpPr>
        <p:spPr bwMode="auto">
          <a:xfrm>
            <a:off x="7256307" y="1204548"/>
            <a:ext cx="2280760" cy="5660260"/>
          </a:xfrm>
          <a:custGeom>
            <a:avLst/>
            <a:gdLst>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102188"/>
              <a:gd name="connsiteY0" fmla="*/ 0 h 6375400"/>
              <a:gd name="connsiteX1" fmla="*/ 3048000 w 3102188"/>
              <a:gd name="connsiteY1" fmla="*/ 1168400 h 6375400"/>
              <a:gd name="connsiteX2" fmla="*/ 2565400 w 3102188"/>
              <a:gd name="connsiteY2" fmla="*/ 1739900 h 6375400"/>
              <a:gd name="connsiteX3" fmla="*/ 736600 w 3102188"/>
              <a:gd name="connsiteY3" fmla="*/ 1727200 h 6375400"/>
              <a:gd name="connsiteX4" fmla="*/ 0 w 3102188"/>
              <a:gd name="connsiteY4" fmla="*/ 2235200 h 6375400"/>
              <a:gd name="connsiteX5" fmla="*/ 25400 w 3102188"/>
              <a:gd name="connsiteY5" fmla="*/ 2895600 h 6375400"/>
              <a:gd name="connsiteX6" fmla="*/ 685800 w 3102188"/>
              <a:gd name="connsiteY6" fmla="*/ 3365500 h 6375400"/>
              <a:gd name="connsiteX7" fmla="*/ 2463800 w 3102188"/>
              <a:gd name="connsiteY7" fmla="*/ 3365500 h 6375400"/>
              <a:gd name="connsiteX8" fmla="*/ 3098800 w 3102188"/>
              <a:gd name="connsiteY8" fmla="*/ 4013200 h 6375400"/>
              <a:gd name="connsiteX9" fmla="*/ 3073400 w 3102188"/>
              <a:gd name="connsiteY9" fmla="*/ 6375400 h 63754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51247 w 3118135"/>
              <a:gd name="connsiteY0" fmla="*/ 0 h 6438900"/>
              <a:gd name="connsiteX1" fmla="*/ 3063947 w 3118135"/>
              <a:gd name="connsiteY1" fmla="*/ 1231900 h 6438900"/>
              <a:gd name="connsiteX2" fmla="*/ 2581347 w 3118135"/>
              <a:gd name="connsiteY2" fmla="*/ 1803400 h 6438900"/>
              <a:gd name="connsiteX3" fmla="*/ 752547 w 3118135"/>
              <a:gd name="connsiteY3" fmla="*/ 1790700 h 6438900"/>
              <a:gd name="connsiteX4" fmla="*/ 15947 w 3118135"/>
              <a:gd name="connsiteY4" fmla="*/ 2298700 h 6438900"/>
              <a:gd name="connsiteX5" fmla="*/ 9597 w 3118135"/>
              <a:gd name="connsiteY5" fmla="*/ 2964929 h 6438900"/>
              <a:gd name="connsiteX6" fmla="*/ 701747 w 3118135"/>
              <a:gd name="connsiteY6" fmla="*/ 3429000 h 6438900"/>
              <a:gd name="connsiteX7" fmla="*/ 2479747 w 3118135"/>
              <a:gd name="connsiteY7" fmla="*/ 3429000 h 6438900"/>
              <a:gd name="connsiteX8" fmla="*/ 3114747 w 3118135"/>
              <a:gd name="connsiteY8" fmla="*/ 4076700 h 6438900"/>
              <a:gd name="connsiteX9" fmla="*/ 3089347 w 3118135"/>
              <a:gd name="connsiteY9" fmla="*/ 6438900 h 6438900"/>
              <a:gd name="connsiteX0" fmla="*/ 3041125 w 3108013"/>
              <a:gd name="connsiteY0" fmla="*/ 0 h 6438900"/>
              <a:gd name="connsiteX1" fmla="*/ 3053825 w 3108013"/>
              <a:gd name="connsiteY1" fmla="*/ 1231900 h 6438900"/>
              <a:gd name="connsiteX2" fmla="*/ 2571225 w 3108013"/>
              <a:gd name="connsiteY2" fmla="*/ 1803400 h 6438900"/>
              <a:gd name="connsiteX3" fmla="*/ 742425 w 3108013"/>
              <a:gd name="connsiteY3" fmla="*/ 1790700 h 6438900"/>
              <a:gd name="connsiteX4" fmla="*/ 5825 w 3108013"/>
              <a:gd name="connsiteY4" fmla="*/ 2298700 h 6438900"/>
              <a:gd name="connsiteX5" fmla="*/ 12175 w 3108013"/>
              <a:gd name="connsiteY5" fmla="*/ 2959100 h 6438900"/>
              <a:gd name="connsiteX6" fmla="*/ 691625 w 3108013"/>
              <a:gd name="connsiteY6" fmla="*/ 3429000 h 6438900"/>
              <a:gd name="connsiteX7" fmla="*/ 2469625 w 3108013"/>
              <a:gd name="connsiteY7" fmla="*/ 3429000 h 6438900"/>
              <a:gd name="connsiteX8" fmla="*/ 3104625 w 3108013"/>
              <a:gd name="connsiteY8" fmla="*/ 4076700 h 6438900"/>
              <a:gd name="connsiteX9" fmla="*/ 3079225 w 3108013"/>
              <a:gd name="connsiteY9" fmla="*/ 6438900 h 6438900"/>
              <a:gd name="connsiteX0" fmla="*/ 3036695 w 3103583"/>
              <a:gd name="connsiteY0" fmla="*/ 0 h 6438900"/>
              <a:gd name="connsiteX1" fmla="*/ 3049395 w 3103583"/>
              <a:gd name="connsiteY1" fmla="*/ 1231900 h 6438900"/>
              <a:gd name="connsiteX2" fmla="*/ 2566795 w 3103583"/>
              <a:gd name="connsiteY2" fmla="*/ 1803400 h 6438900"/>
              <a:gd name="connsiteX3" fmla="*/ 737995 w 3103583"/>
              <a:gd name="connsiteY3" fmla="*/ 1790700 h 6438900"/>
              <a:gd name="connsiteX4" fmla="*/ 1395 w 3103583"/>
              <a:gd name="connsiteY4" fmla="*/ 2298700 h 6438900"/>
              <a:gd name="connsiteX5" fmla="*/ 14095 w 3103583"/>
              <a:gd name="connsiteY5" fmla="*/ 2953272 h 6438900"/>
              <a:gd name="connsiteX6" fmla="*/ 687195 w 3103583"/>
              <a:gd name="connsiteY6" fmla="*/ 3429000 h 6438900"/>
              <a:gd name="connsiteX7" fmla="*/ 2465195 w 3103583"/>
              <a:gd name="connsiteY7" fmla="*/ 3429000 h 6438900"/>
              <a:gd name="connsiteX8" fmla="*/ 3100195 w 3103583"/>
              <a:gd name="connsiteY8" fmla="*/ 4076700 h 6438900"/>
              <a:gd name="connsiteX9" fmla="*/ 3074795 w 3103583"/>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945"/>
              <a:gd name="connsiteY0" fmla="*/ 0 h 6438900"/>
              <a:gd name="connsiteX1" fmla="*/ 3049244 w 3103945"/>
              <a:gd name="connsiteY1" fmla="*/ 1231900 h 6438900"/>
              <a:gd name="connsiteX2" fmla="*/ 2566644 w 3103945"/>
              <a:gd name="connsiteY2" fmla="*/ 1803400 h 6438900"/>
              <a:gd name="connsiteX3" fmla="*/ 737844 w 3103945"/>
              <a:gd name="connsiteY3" fmla="*/ 1790700 h 6438900"/>
              <a:gd name="connsiteX4" fmla="*/ 1244 w 3103945"/>
              <a:gd name="connsiteY4" fmla="*/ 2298700 h 6438900"/>
              <a:gd name="connsiteX5" fmla="*/ 4419 w 3103945"/>
              <a:gd name="connsiteY5" fmla="*/ 2979500 h 6438900"/>
              <a:gd name="connsiteX6" fmla="*/ 687044 w 3103945"/>
              <a:gd name="connsiteY6" fmla="*/ 3429000 h 6438900"/>
              <a:gd name="connsiteX7" fmla="*/ 2465044 w 3103945"/>
              <a:gd name="connsiteY7" fmla="*/ 3429000 h 6438900"/>
              <a:gd name="connsiteX8" fmla="*/ 3100044 w 3103945"/>
              <a:gd name="connsiteY8" fmla="*/ 4076700 h 6438900"/>
              <a:gd name="connsiteX9" fmla="*/ 3074644 w 3103945"/>
              <a:gd name="connsiteY9" fmla="*/ 6438900 h 6438900"/>
              <a:gd name="connsiteX0" fmla="*/ 3036544 w 3100051"/>
              <a:gd name="connsiteY0" fmla="*/ 0 h 6438900"/>
              <a:gd name="connsiteX1" fmla="*/ 3049244 w 3100051"/>
              <a:gd name="connsiteY1" fmla="*/ 1231900 h 6438900"/>
              <a:gd name="connsiteX2" fmla="*/ 2566644 w 3100051"/>
              <a:gd name="connsiteY2" fmla="*/ 1803400 h 6438900"/>
              <a:gd name="connsiteX3" fmla="*/ 737844 w 3100051"/>
              <a:gd name="connsiteY3" fmla="*/ 1790700 h 6438900"/>
              <a:gd name="connsiteX4" fmla="*/ 1244 w 3100051"/>
              <a:gd name="connsiteY4" fmla="*/ 2298700 h 6438900"/>
              <a:gd name="connsiteX5" fmla="*/ 4419 w 3100051"/>
              <a:gd name="connsiteY5" fmla="*/ 2979500 h 6438900"/>
              <a:gd name="connsiteX6" fmla="*/ 687044 w 3100051"/>
              <a:gd name="connsiteY6" fmla="*/ 3429000 h 6438900"/>
              <a:gd name="connsiteX7" fmla="*/ 2465044 w 3100051"/>
              <a:gd name="connsiteY7" fmla="*/ 3429000 h 6438900"/>
              <a:gd name="connsiteX8" fmla="*/ 3100044 w 3100051"/>
              <a:gd name="connsiteY8" fmla="*/ 4076700 h 6438900"/>
              <a:gd name="connsiteX9" fmla="*/ 3074644 w 3100051"/>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3280"/>
              <a:gd name="connsiteY0" fmla="*/ 0 h 6438900"/>
              <a:gd name="connsiteX1" fmla="*/ 3049244 w 3103280"/>
              <a:gd name="connsiteY1" fmla="*/ 1231900 h 6438900"/>
              <a:gd name="connsiteX2" fmla="*/ 2566644 w 3103280"/>
              <a:gd name="connsiteY2" fmla="*/ 1803400 h 6438900"/>
              <a:gd name="connsiteX3" fmla="*/ 737844 w 3103280"/>
              <a:gd name="connsiteY3" fmla="*/ 1790700 h 6438900"/>
              <a:gd name="connsiteX4" fmla="*/ 1244 w 3103280"/>
              <a:gd name="connsiteY4" fmla="*/ 2298700 h 6438900"/>
              <a:gd name="connsiteX5" fmla="*/ 4419 w 3103280"/>
              <a:gd name="connsiteY5" fmla="*/ 2979500 h 6438900"/>
              <a:gd name="connsiteX6" fmla="*/ 687044 w 3103280"/>
              <a:gd name="connsiteY6" fmla="*/ 3429000 h 6438900"/>
              <a:gd name="connsiteX7" fmla="*/ 2465044 w 3103280"/>
              <a:gd name="connsiteY7" fmla="*/ 3429000 h 6438900"/>
              <a:gd name="connsiteX8" fmla="*/ 3100044 w 3103280"/>
              <a:gd name="connsiteY8" fmla="*/ 4076700 h 6438900"/>
              <a:gd name="connsiteX9" fmla="*/ 3074644 w 3103280"/>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2432" h="6438900">
                <a:moveTo>
                  <a:pt x="3036544" y="0"/>
                </a:moveTo>
                <a:lnTo>
                  <a:pt x="3049244" y="1231900"/>
                </a:lnTo>
                <a:cubicBezTo>
                  <a:pt x="3047127" y="1606028"/>
                  <a:pt x="2918011" y="1818799"/>
                  <a:pt x="2566644" y="1803400"/>
                </a:cubicBezTo>
                <a:lnTo>
                  <a:pt x="737844" y="1790700"/>
                </a:lnTo>
                <a:cubicBezTo>
                  <a:pt x="200211" y="1783888"/>
                  <a:pt x="-1684" y="1930370"/>
                  <a:pt x="1244" y="2298700"/>
                </a:cubicBezTo>
                <a:cubicBezTo>
                  <a:pt x="9711" y="2608119"/>
                  <a:pt x="-7628" y="2688496"/>
                  <a:pt x="4419" y="2979500"/>
                </a:cubicBezTo>
                <a:cubicBezTo>
                  <a:pt x="2302" y="3267703"/>
                  <a:pt x="98611" y="3416240"/>
                  <a:pt x="687044" y="3429000"/>
                </a:cubicBezTo>
                <a:lnTo>
                  <a:pt x="2465044" y="3429000"/>
                </a:lnTo>
                <a:cubicBezTo>
                  <a:pt x="3057711" y="3432527"/>
                  <a:pt x="3116977" y="3716748"/>
                  <a:pt x="3100044" y="4076700"/>
                </a:cubicBezTo>
                <a:lnTo>
                  <a:pt x="3074644" y="6438900"/>
                </a:lnTo>
              </a:path>
            </a:pathLst>
          </a:custGeom>
          <a:noFill/>
          <a:ln w="1079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92"/>
          <p:cNvSpPr/>
          <p:nvPr/>
        </p:nvSpPr>
        <p:spPr bwMode="auto">
          <a:xfrm>
            <a:off x="9921938" y="293506"/>
            <a:ext cx="746915" cy="1371099"/>
          </a:xfrm>
          <a:custGeom>
            <a:avLst/>
            <a:gdLst>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498600"/>
              <a:gd name="connsiteX1" fmla="*/ 0 w 1016000"/>
              <a:gd name="connsiteY1" fmla="*/ 977900 h 1498600"/>
              <a:gd name="connsiteX2" fmla="*/ 1016000 w 1016000"/>
              <a:gd name="connsiteY2" fmla="*/ 1498600 h 1498600"/>
              <a:gd name="connsiteX0" fmla="*/ 0 w 1016000"/>
              <a:gd name="connsiteY0" fmla="*/ 0 h 1505604"/>
              <a:gd name="connsiteX1" fmla="*/ 0 w 1016000"/>
              <a:gd name="connsiteY1" fmla="*/ 977900 h 1505604"/>
              <a:gd name="connsiteX2" fmla="*/ 1016000 w 1016000"/>
              <a:gd name="connsiteY2" fmla="*/ 1498600 h 1505604"/>
              <a:gd name="connsiteX0" fmla="*/ 0 w 1016000"/>
              <a:gd name="connsiteY0" fmla="*/ 0 h 1506490"/>
              <a:gd name="connsiteX1" fmla="*/ 0 w 1016000"/>
              <a:gd name="connsiteY1" fmla="*/ 977900 h 1506490"/>
              <a:gd name="connsiteX2" fmla="*/ 1016000 w 1016000"/>
              <a:gd name="connsiteY2" fmla="*/ 1498600 h 1506490"/>
            </a:gdLst>
            <a:ahLst/>
            <a:cxnLst>
              <a:cxn ang="0">
                <a:pos x="connsiteX0" y="connsiteY0"/>
              </a:cxn>
              <a:cxn ang="0">
                <a:pos x="connsiteX1" y="connsiteY1"/>
              </a:cxn>
              <a:cxn ang="0">
                <a:pos x="connsiteX2" y="connsiteY2"/>
              </a:cxn>
            </a:cxnLst>
            <a:rect l="l" t="t" r="r" b="b"/>
            <a:pathLst>
              <a:path w="1016000" h="1506490">
                <a:moveTo>
                  <a:pt x="0" y="0"/>
                </a:moveTo>
                <a:lnTo>
                  <a:pt x="0" y="977900"/>
                </a:lnTo>
                <a:cubicBezTo>
                  <a:pt x="4233" y="1272423"/>
                  <a:pt x="105833" y="1557956"/>
                  <a:pt x="1016000" y="1498600"/>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93"/>
          <p:cNvSpPr/>
          <p:nvPr/>
        </p:nvSpPr>
        <p:spPr bwMode="auto">
          <a:xfrm>
            <a:off x="9712562" y="4614933"/>
            <a:ext cx="954324" cy="2249876"/>
          </a:xfrm>
          <a:custGeom>
            <a:avLst/>
            <a:gdLst>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300242 w 1300242"/>
              <a:gd name="connsiteY0" fmla="*/ 0 h 2705100"/>
              <a:gd name="connsiteX1" fmla="*/ 766842 w 1300242"/>
              <a:gd name="connsiteY1" fmla="*/ 203200 h 2705100"/>
              <a:gd name="connsiteX2" fmla="*/ 462042 w 1300242"/>
              <a:gd name="connsiteY2" fmla="*/ 203200 h 2705100"/>
              <a:gd name="connsiteX3" fmla="*/ 4842 w 1300242"/>
              <a:gd name="connsiteY3" fmla="*/ 787400 h 2705100"/>
              <a:gd name="connsiteX4" fmla="*/ 4842 w 1300242"/>
              <a:gd name="connsiteY4" fmla="*/ 2705100 h 2705100"/>
              <a:gd name="connsiteX0" fmla="*/ 1287542 w 1287542"/>
              <a:gd name="connsiteY0" fmla="*/ 0 h 2705100"/>
              <a:gd name="connsiteX1" fmla="*/ 766842 w 1287542"/>
              <a:gd name="connsiteY1" fmla="*/ 203200 h 2705100"/>
              <a:gd name="connsiteX2" fmla="*/ 462042 w 1287542"/>
              <a:gd name="connsiteY2" fmla="*/ 203200 h 2705100"/>
              <a:gd name="connsiteX3" fmla="*/ 4842 w 1287542"/>
              <a:gd name="connsiteY3" fmla="*/ 787400 h 2705100"/>
              <a:gd name="connsiteX4" fmla="*/ 4842 w 1287542"/>
              <a:gd name="connsiteY4" fmla="*/ 2705100 h 2705100"/>
              <a:gd name="connsiteX0" fmla="*/ 1338342 w 1338342"/>
              <a:gd name="connsiteY0" fmla="*/ 0 h 2716509"/>
              <a:gd name="connsiteX1" fmla="*/ 766842 w 1338342"/>
              <a:gd name="connsiteY1" fmla="*/ 214609 h 2716509"/>
              <a:gd name="connsiteX2" fmla="*/ 462042 w 1338342"/>
              <a:gd name="connsiteY2" fmla="*/ 214609 h 2716509"/>
              <a:gd name="connsiteX3" fmla="*/ 4842 w 1338342"/>
              <a:gd name="connsiteY3" fmla="*/ 798809 h 2716509"/>
              <a:gd name="connsiteX4" fmla="*/ 4842 w 1338342"/>
              <a:gd name="connsiteY4" fmla="*/ 2716509 h 2716509"/>
              <a:gd name="connsiteX0" fmla="*/ 766842 w 766842"/>
              <a:gd name="connsiteY0" fmla="*/ 0 h 2501900"/>
              <a:gd name="connsiteX1" fmla="*/ 462042 w 766842"/>
              <a:gd name="connsiteY1" fmla="*/ 0 h 2501900"/>
              <a:gd name="connsiteX2" fmla="*/ 4842 w 766842"/>
              <a:gd name="connsiteY2" fmla="*/ 584200 h 2501900"/>
              <a:gd name="connsiteX3" fmla="*/ 4842 w 766842"/>
              <a:gd name="connsiteY3" fmla="*/ 2501900 h 2501900"/>
              <a:gd name="connsiteX0" fmla="*/ 1319292 w 1319292"/>
              <a:gd name="connsiteY0" fmla="*/ 0 h 2501900"/>
              <a:gd name="connsiteX1" fmla="*/ 462042 w 1319292"/>
              <a:gd name="connsiteY1" fmla="*/ 0 h 2501900"/>
              <a:gd name="connsiteX2" fmla="*/ 4842 w 1319292"/>
              <a:gd name="connsiteY2" fmla="*/ 584200 h 2501900"/>
              <a:gd name="connsiteX3" fmla="*/ 4842 w 1319292"/>
              <a:gd name="connsiteY3" fmla="*/ 2501900 h 2501900"/>
              <a:gd name="connsiteX0" fmla="*/ 1314583 w 1314583"/>
              <a:gd name="connsiteY0" fmla="*/ 0 h 2501900"/>
              <a:gd name="connsiteX1" fmla="*/ 457333 w 1314583"/>
              <a:gd name="connsiteY1" fmla="*/ 0 h 2501900"/>
              <a:gd name="connsiteX2" fmla="*/ 133 w 1314583"/>
              <a:gd name="connsiteY2" fmla="*/ 584200 h 2501900"/>
              <a:gd name="connsiteX3" fmla="*/ 133 w 1314583"/>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1314583" h="2501900">
                <a:moveTo>
                  <a:pt x="1314583" y="0"/>
                </a:moveTo>
                <a:lnTo>
                  <a:pt x="457333" y="0"/>
                </a:lnTo>
                <a:cubicBezTo>
                  <a:pt x="38233" y="42333"/>
                  <a:pt x="-2761" y="405770"/>
                  <a:pt x="133" y="584200"/>
                </a:cubicBezTo>
                <a:lnTo>
                  <a:pt x="133" y="2501900"/>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94"/>
          <p:cNvSpPr/>
          <p:nvPr/>
        </p:nvSpPr>
        <p:spPr bwMode="auto">
          <a:xfrm>
            <a:off x="9903073" y="5592044"/>
            <a:ext cx="763814" cy="1269652"/>
          </a:xfrm>
          <a:custGeom>
            <a:avLst/>
            <a:gdLst>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1048512 w 1048512"/>
              <a:gd name="connsiteY2" fmla="*/ 0 h 1414272"/>
              <a:gd name="connsiteX0" fmla="*/ 0 w 1048512"/>
              <a:gd name="connsiteY0" fmla="*/ 1446741 h 1446741"/>
              <a:gd name="connsiteX1" fmla="*/ 12192 w 1048512"/>
              <a:gd name="connsiteY1" fmla="*/ 520149 h 1446741"/>
              <a:gd name="connsiteX2" fmla="*/ 1048512 w 1048512"/>
              <a:gd name="connsiteY2" fmla="*/ 32469 h 1446741"/>
              <a:gd name="connsiteX0" fmla="*/ 0 w 1048512"/>
              <a:gd name="connsiteY0" fmla="*/ 1454721 h 1454721"/>
              <a:gd name="connsiteX1" fmla="*/ 12192 w 1048512"/>
              <a:gd name="connsiteY1" fmla="*/ 528129 h 1454721"/>
              <a:gd name="connsiteX2" fmla="*/ 1048512 w 1048512"/>
              <a:gd name="connsiteY2" fmla="*/ 40449 h 1454721"/>
              <a:gd name="connsiteX0" fmla="*/ 0 w 1048512"/>
              <a:gd name="connsiteY0" fmla="*/ 1421418 h 1421418"/>
              <a:gd name="connsiteX1" fmla="*/ 12192 w 1048512"/>
              <a:gd name="connsiteY1" fmla="*/ 494826 h 1421418"/>
              <a:gd name="connsiteX2" fmla="*/ 1048512 w 1048512"/>
              <a:gd name="connsiteY2" fmla="*/ 7146 h 1421418"/>
              <a:gd name="connsiteX0" fmla="*/ 0 w 1048512"/>
              <a:gd name="connsiteY0" fmla="*/ 1421108 h 1421108"/>
              <a:gd name="connsiteX1" fmla="*/ 12192 w 1048512"/>
              <a:gd name="connsiteY1" fmla="*/ 494516 h 1421108"/>
              <a:gd name="connsiteX2" fmla="*/ 1048512 w 1048512"/>
              <a:gd name="connsiteY2" fmla="*/ 6836 h 1421108"/>
              <a:gd name="connsiteX0" fmla="*/ 0 w 1048512"/>
              <a:gd name="connsiteY0" fmla="*/ 1424515 h 1424515"/>
              <a:gd name="connsiteX1" fmla="*/ 12192 w 1048512"/>
              <a:gd name="connsiteY1" fmla="*/ 497923 h 1424515"/>
              <a:gd name="connsiteX2" fmla="*/ 1048512 w 1048512"/>
              <a:gd name="connsiteY2" fmla="*/ 10243 h 1424515"/>
              <a:gd name="connsiteX0" fmla="*/ 0 w 1048512"/>
              <a:gd name="connsiteY0" fmla="*/ 1414727 h 1414727"/>
              <a:gd name="connsiteX1" fmla="*/ 12192 w 1048512"/>
              <a:gd name="connsiteY1" fmla="*/ 488135 h 1414727"/>
              <a:gd name="connsiteX2" fmla="*/ 1048512 w 1048512"/>
              <a:gd name="connsiteY2" fmla="*/ 455 h 1414727"/>
              <a:gd name="connsiteX0" fmla="*/ 0 w 1042162"/>
              <a:gd name="connsiteY0" fmla="*/ 1411875 h 1411875"/>
              <a:gd name="connsiteX1" fmla="*/ 5842 w 1042162"/>
              <a:gd name="connsiteY1" fmla="*/ 488135 h 1411875"/>
              <a:gd name="connsiteX2" fmla="*/ 1042162 w 1042162"/>
              <a:gd name="connsiteY2" fmla="*/ 455 h 1411875"/>
              <a:gd name="connsiteX0" fmla="*/ 0 w 1038987"/>
              <a:gd name="connsiteY0" fmla="*/ 1411875 h 1411875"/>
              <a:gd name="connsiteX1" fmla="*/ 2667 w 1038987"/>
              <a:gd name="connsiteY1" fmla="*/ 488135 h 1411875"/>
              <a:gd name="connsiteX2" fmla="*/ 1038987 w 1038987"/>
              <a:gd name="connsiteY2" fmla="*/ 455 h 1411875"/>
            </a:gdLst>
            <a:ahLst/>
            <a:cxnLst>
              <a:cxn ang="0">
                <a:pos x="connsiteX0" y="connsiteY0"/>
              </a:cxn>
              <a:cxn ang="0">
                <a:pos x="connsiteX1" y="connsiteY1"/>
              </a:cxn>
              <a:cxn ang="0">
                <a:pos x="connsiteX2" y="connsiteY2"/>
              </a:cxn>
            </a:cxnLst>
            <a:rect l="l" t="t" r="r" b="b"/>
            <a:pathLst>
              <a:path w="1038987" h="1411875">
                <a:moveTo>
                  <a:pt x="0" y="1411875"/>
                </a:moveTo>
                <a:cubicBezTo>
                  <a:pt x="1947" y="1103962"/>
                  <a:pt x="720" y="796048"/>
                  <a:pt x="2667" y="488135"/>
                </a:cubicBezTo>
                <a:cubicBezTo>
                  <a:pt x="-381" y="58472"/>
                  <a:pt x="191262" y="-6329"/>
                  <a:pt x="1038987" y="455"/>
                </a:cubicBezTo>
              </a:path>
            </a:pathLst>
          </a:custGeom>
          <a:noFill/>
          <a:ln w="1079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95"/>
          <p:cNvSpPr/>
          <p:nvPr/>
        </p:nvSpPr>
        <p:spPr bwMode="auto">
          <a:xfrm>
            <a:off x="7098131" y="3240200"/>
            <a:ext cx="1820977" cy="3624613"/>
          </a:xfrm>
          <a:custGeom>
            <a:avLst/>
            <a:gdLst>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167" h="4030631">
                <a:moveTo>
                  <a:pt x="2479167" y="4030631"/>
                </a:moveTo>
                <a:lnTo>
                  <a:pt x="2479167" y="3055271"/>
                </a:lnTo>
                <a:cubicBezTo>
                  <a:pt x="2478432" y="2904400"/>
                  <a:pt x="2328799" y="2681383"/>
                  <a:pt x="1979295" y="2677319"/>
                </a:cubicBezTo>
                <a:lnTo>
                  <a:pt x="1576959" y="2677319"/>
                </a:lnTo>
                <a:cubicBezTo>
                  <a:pt x="1349375" y="2671689"/>
                  <a:pt x="1093710" y="2571656"/>
                  <a:pt x="1077087" y="2226215"/>
                </a:cubicBezTo>
                <a:lnTo>
                  <a:pt x="1101471" y="409607"/>
                </a:lnTo>
                <a:cubicBezTo>
                  <a:pt x="1068959" y="238919"/>
                  <a:pt x="987679" y="68231"/>
                  <a:pt x="674751" y="7271"/>
                </a:cubicBezTo>
                <a:lnTo>
                  <a:pt x="0" y="0"/>
                </a:lnTo>
              </a:path>
            </a:pathLst>
          </a:custGeom>
          <a:noFill/>
          <a:ln w="1079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4" name="Freeform 96"/>
          <p:cNvSpPr/>
          <p:nvPr/>
        </p:nvSpPr>
        <p:spPr bwMode="auto">
          <a:xfrm>
            <a:off x="9295429" y="4968058"/>
            <a:ext cx="1371458" cy="1896749"/>
          </a:xfrm>
          <a:custGeom>
            <a:avLst/>
            <a:gdLst>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730 w 1865914"/>
              <a:gd name="connsiteY0" fmla="*/ 2109216 h 2109216"/>
              <a:gd name="connsiteX1" fmla="*/ 538 w 1865914"/>
              <a:gd name="connsiteY1" fmla="*/ 585216 h 2109216"/>
              <a:gd name="connsiteX2" fmla="*/ 427258 w 1865914"/>
              <a:gd name="connsiteY2" fmla="*/ 0 h 2109216"/>
              <a:gd name="connsiteX3" fmla="*/ 1865914 w 1865914"/>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24428 h 2124428"/>
              <a:gd name="connsiteX1" fmla="*/ 0 w 1865376"/>
              <a:gd name="connsiteY1" fmla="*/ 600428 h 2124428"/>
              <a:gd name="connsiteX2" fmla="*/ 426720 w 1865376"/>
              <a:gd name="connsiteY2" fmla="*/ 15212 h 2124428"/>
              <a:gd name="connsiteX3" fmla="*/ 1865376 w 1865376"/>
              <a:gd name="connsiteY3" fmla="*/ 15212 h 212442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09217 h 2109217"/>
              <a:gd name="connsiteX1" fmla="*/ 0 w 1865376"/>
              <a:gd name="connsiteY1" fmla="*/ 585217 h 2109217"/>
              <a:gd name="connsiteX2" fmla="*/ 731520 w 1865376"/>
              <a:gd name="connsiteY2" fmla="*/ 11409 h 2109217"/>
              <a:gd name="connsiteX3" fmla="*/ 1865376 w 1865376"/>
              <a:gd name="connsiteY3" fmla="*/ 1 h 2109217"/>
              <a:gd name="connsiteX0" fmla="*/ 12192 w 1865376"/>
              <a:gd name="connsiteY0" fmla="*/ 2212929 h 2212929"/>
              <a:gd name="connsiteX1" fmla="*/ 0 w 1865376"/>
              <a:gd name="connsiteY1" fmla="*/ 688929 h 2212929"/>
              <a:gd name="connsiteX2" fmla="*/ 744220 w 1865376"/>
              <a:gd name="connsiteY2" fmla="*/ 1032 h 2212929"/>
              <a:gd name="connsiteX3" fmla="*/ 1865376 w 1865376"/>
              <a:gd name="connsiteY3" fmla="*/ 103713 h 221292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317 w 1865501"/>
              <a:gd name="connsiteY0" fmla="*/ 2109216 h 2109216"/>
              <a:gd name="connsiteX1" fmla="*/ 125 w 1865501"/>
              <a:gd name="connsiteY1" fmla="*/ 585216 h 2109216"/>
              <a:gd name="connsiteX2" fmla="*/ 579245 w 1865501"/>
              <a:gd name="connsiteY2" fmla="*/ 45635 h 2109216"/>
              <a:gd name="connsiteX3" fmla="*/ 1865501 w 1865501"/>
              <a:gd name="connsiteY3" fmla="*/ 0 h 2109216"/>
              <a:gd name="connsiteX0" fmla="*/ 12358 w 1865542"/>
              <a:gd name="connsiteY0" fmla="*/ 2109216 h 2109216"/>
              <a:gd name="connsiteX1" fmla="*/ 166 w 1865542"/>
              <a:gd name="connsiteY1" fmla="*/ 585216 h 2109216"/>
              <a:gd name="connsiteX2" fmla="*/ 503086 w 1865542"/>
              <a:gd name="connsiteY2" fmla="*/ 34226 h 2109216"/>
              <a:gd name="connsiteX3" fmla="*/ 1865542 w 1865542"/>
              <a:gd name="connsiteY3" fmla="*/ 0 h 2109216"/>
            </a:gdLst>
            <a:ahLst/>
            <a:cxnLst>
              <a:cxn ang="0">
                <a:pos x="connsiteX0" y="connsiteY0"/>
              </a:cxn>
              <a:cxn ang="0">
                <a:pos x="connsiteX1" y="connsiteY1"/>
              </a:cxn>
              <a:cxn ang="0">
                <a:pos x="connsiteX2" y="connsiteY2"/>
              </a:cxn>
              <a:cxn ang="0">
                <a:pos x="connsiteX3" y="connsiteY3"/>
              </a:cxn>
            </a:cxnLst>
            <a:rect l="l" t="t" r="r" b="b"/>
            <a:pathLst>
              <a:path w="1865542" h="2109216">
                <a:moveTo>
                  <a:pt x="12358" y="2109216"/>
                </a:moveTo>
                <a:lnTo>
                  <a:pt x="166" y="585216"/>
                </a:lnTo>
                <a:cubicBezTo>
                  <a:pt x="-6946" y="267906"/>
                  <a:pt x="214034" y="45635"/>
                  <a:pt x="503086" y="34226"/>
                </a:cubicBezTo>
                <a:cubicBezTo>
                  <a:pt x="893738" y="22817"/>
                  <a:pt x="1385990" y="0"/>
                  <a:pt x="1865542" y="0"/>
                </a:cubicBezTo>
              </a:path>
            </a:pathLst>
          </a:custGeom>
          <a:noFill/>
          <a:ln w="1079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116"/>
          <p:cNvSpPr/>
          <p:nvPr/>
        </p:nvSpPr>
        <p:spPr bwMode="auto">
          <a:xfrm flipH="1">
            <a:off x="8889805" y="530427"/>
            <a:ext cx="1779044" cy="2500615"/>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932040"/>
              <a:gd name="connsiteY0" fmla="*/ 0 h 4339772"/>
              <a:gd name="connsiteX1" fmla="*/ 885372 w 932040"/>
              <a:gd name="connsiteY1" fmla="*/ 3744944 h 4339772"/>
              <a:gd name="connsiteX2" fmla="*/ 686389 w 932040"/>
              <a:gd name="connsiteY2" fmla="*/ 4339772 h 4339772"/>
              <a:gd name="connsiteX3" fmla="*/ 0 w 932040"/>
              <a:gd name="connsiteY3" fmla="*/ 4339772 h 4339772"/>
              <a:gd name="connsiteX0" fmla="*/ 885372 w 885372"/>
              <a:gd name="connsiteY0" fmla="*/ 0 h 4339772"/>
              <a:gd name="connsiteX1" fmla="*/ 885372 w 885372"/>
              <a:gd name="connsiteY1" fmla="*/ 3744944 h 4339772"/>
              <a:gd name="connsiteX2" fmla="*/ 686389 w 885372"/>
              <a:gd name="connsiteY2" fmla="*/ 4339772 h 4339772"/>
              <a:gd name="connsiteX3" fmla="*/ 0 w 885372"/>
              <a:gd name="connsiteY3" fmla="*/ 4339772 h 4339772"/>
              <a:gd name="connsiteX0" fmla="*/ 885372 w 885705"/>
              <a:gd name="connsiteY0" fmla="*/ 0 h 4339772"/>
              <a:gd name="connsiteX1" fmla="*/ 885372 w 885705"/>
              <a:gd name="connsiteY1" fmla="*/ 3744944 h 4339772"/>
              <a:gd name="connsiteX2" fmla="*/ 686389 w 885705"/>
              <a:gd name="connsiteY2" fmla="*/ 4339772 h 4339772"/>
              <a:gd name="connsiteX3" fmla="*/ 0 w 885705"/>
              <a:gd name="connsiteY3" fmla="*/ 4339772 h 4339772"/>
              <a:gd name="connsiteX0" fmla="*/ 885372 w 885592"/>
              <a:gd name="connsiteY0" fmla="*/ 0 h 4339772"/>
              <a:gd name="connsiteX1" fmla="*/ 885372 w 885592"/>
              <a:gd name="connsiteY1" fmla="*/ 3744944 h 4339772"/>
              <a:gd name="connsiteX2" fmla="*/ 686389 w 885592"/>
              <a:gd name="connsiteY2" fmla="*/ 4339772 h 4339772"/>
              <a:gd name="connsiteX3" fmla="*/ 0 w 885592"/>
              <a:gd name="connsiteY3" fmla="*/ 4339772 h 4339772"/>
              <a:gd name="connsiteX0" fmla="*/ 885372 w 885722"/>
              <a:gd name="connsiteY0" fmla="*/ 0 h 4339772"/>
              <a:gd name="connsiteX1" fmla="*/ 885372 w 885722"/>
              <a:gd name="connsiteY1" fmla="*/ 3744944 h 4339772"/>
              <a:gd name="connsiteX2" fmla="*/ 686389 w 885722"/>
              <a:gd name="connsiteY2" fmla="*/ 4339772 h 4339772"/>
              <a:gd name="connsiteX3" fmla="*/ 0 w 885722"/>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5722" h="4339772">
                <a:moveTo>
                  <a:pt x="885372" y="0"/>
                </a:moveTo>
                <a:lnTo>
                  <a:pt x="885372" y="3744944"/>
                </a:lnTo>
                <a:cubicBezTo>
                  <a:pt x="889725" y="4273184"/>
                  <a:pt x="855275" y="4336597"/>
                  <a:pt x="686389" y="4339772"/>
                </a:cubicBezTo>
                <a:lnTo>
                  <a:pt x="0" y="4339772"/>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Rectangle 78"/>
          <p:cNvSpPr/>
          <p:nvPr/>
        </p:nvSpPr>
        <p:spPr bwMode="auto">
          <a:xfrm>
            <a:off x="8666296" y="6351829"/>
            <a:ext cx="1501541" cy="513731"/>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Lst>
            <a:ahLst/>
            <a:cxnLst>
              <a:cxn ang="0">
                <a:pos x="connsiteX0" y="connsiteY0"/>
              </a:cxn>
              <a:cxn ang="0">
                <a:pos x="connsiteX1" y="connsiteY1"/>
              </a:cxn>
              <a:cxn ang="0">
                <a:pos x="connsiteX2" y="connsiteY2"/>
              </a:cxn>
              <a:cxn ang="0">
                <a:pos x="connsiteX3" y="connsiteY3"/>
              </a:cxn>
            </a:cxnLst>
            <a:rect l="l" t="t" r="r" b="b"/>
            <a:pathLst>
              <a:path w="2549095" h="866096">
                <a:moveTo>
                  <a:pt x="0" y="855488"/>
                </a:moveTo>
                <a:lnTo>
                  <a:pt x="0" y="0"/>
                </a:lnTo>
                <a:lnTo>
                  <a:pt x="2544741" y="0"/>
                </a:lnTo>
                <a:cubicBezTo>
                  <a:pt x="2544741" y="285163"/>
                  <a:pt x="2549095" y="866096"/>
                  <a:pt x="2549095" y="866096"/>
                </a:cubicBezTo>
              </a:path>
            </a:pathLst>
          </a:custGeom>
          <a:noFill/>
          <a:ln w="762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14"/>
          <p:cNvSpPr/>
          <p:nvPr/>
        </p:nvSpPr>
        <p:spPr bwMode="auto">
          <a:xfrm>
            <a:off x="7585329" y="740612"/>
            <a:ext cx="445444" cy="3485764"/>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6846"/>
              <a:gd name="connsiteY0" fmla="*/ 0 h 4339772"/>
              <a:gd name="connsiteX1" fmla="*/ 885372 w 886846"/>
              <a:gd name="connsiteY1" fmla="*/ 3947886 h 4339772"/>
              <a:gd name="connsiteX2" fmla="*/ 493486 w 886846"/>
              <a:gd name="connsiteY2" fmla="*/ 4339772 h 4339772"/>
              <a:gd name="connsiteX3" fmla="*/ 0 w 886846"/>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6846" h="4339772">
                <a:moveTo>
                  <a:pt x="885372" y="0"/>
                </a:moveTo>
                <a:lnTo>
                  <a:pt x="885372" y="3947886"/>
                </a:lnTo>
                <a:cubicBezTo>
                  <a:pt x="891165" y="4155623"/>
                  <a:pt x="899433" y="4336596"/>
                  <a:pt x="493486" y="4339772"/>
                </a:cubicBezTo>
                <a:lnTo>
                  <a:pt x="0" y="4339772"/>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8" name="Group 5"/>
          <p:cNvGrpSpPr/>
          <p:nvPr/>
        </p:nvGrpSpPr>
        <p:grpSpPr>
          <a:xfrm flipV="1">
            <a:off x="6636013" y="4226376"/>
            <a:ext cx="885728" cy="45719"/>
            <a:chOff x="6952690" y="4310628"/>
            <a:chExt cx="1204651" cy="0"/>
          </a:xfrm>
        </p:grpSpPr>
        <p:cxnSp>
          <p:nvCxnSpPr>
            <p:cNvPr id="19" name="Straight Connector 115"/>
            <p:cNvCxnSpPr/>
            <p:nvPr/>
          </p:nvCxnSpPr>
          <p:spPr>
            <a:xfrm>
              <a:off x="7756878" y="4310628"/>
              <a:ext cx="400463" cy="0"/>
            </a:xfrm>
            <a:prstGeom prst="line">
              <a:avLst/>
            </a:prstGeom>
            <a:noFill/>
            <a:ln w="107950">
              <a:solidFill>
                <a:schemeClr val="accent3"/>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1" name="Group 7"/>
          <p:cNvGrpSpPr/>
          <p:nvPr/>
        </p:nvGrpSpPr>
        <p:grpSpPr>
          <a:xfrm>
            <a:off x="6971455" y="971550"/>
            <a:ext cx="3695480" cy="4281216"/>
            <a:chOff x="7408915" y="58809"/>
            <a:chExt cx="5026110" cy="5298789"/>
          </a:xfrm>
        </p:grpSpPr>
        <p:sp>
          <p:nvSpPr>
            <p:cNvPr id="22" name="Right Arrow 120"/>
            <p:cNvSpPr/>
            <p:nvPr/>
          </p:nvSpPr>
          <p:spPr bwMode="auto">
            <a:xfrm>
              <a:off x="7857891" y="1287577"/>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ight Arrow 121"/>
            <p:cNvSpPr/>
            <p:nvPr/>
          </p:nvSpPr>
          <p:spPr bwMode="auto">
            <a:xfrm flipH="1">
              <a:off x="9611828" y="2696253"/>
              <a:ext cx="391594" cy="253272"/>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ight Arrow 133"/>
            <p:cNvSpPr/>
            <p:nvPr/>
          </p:nvSpPr>
          <p:spPr bwMode="auto">
            <a:xfrm flipH="1">
              <a:off x="12043431" y="456700"/>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61"/>
            <p:cNvSpPr>
              <a:spLocks noEditPoints="1"/>
            </p:cNvSpPr>
            <p:nvPr/>
          </p:nvSpPr>
          <p:spPr bwMode="black">
            <a:xfrm>
              <a:off x="9761646" y="4685603"/>
              <a:ext cx="536335" cy="67199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85"/>
            <p:cNvSpPr>
              <a:spLocks noEditPoints="1"/>
            </p:cNvSpPr>
            <p:nvPr/>
          </p:nvSpPr>
          <p:spPr bwMode="black">
            <a:xfrm>
              <a:off x="8923644" y="2206369"/>
              <a:ext cx="697647" cy="1137971"/>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rgbClr val="00188F"/>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88"/>
            <p:cNvSpPr>
              <a:spLocks noEditPoints="1"/>
            </p:cNvSpPr>
            <p:nvPr/>
          </p:nvSpPr>
          <p:spPr bwMode="black">
            <a:xfrm>
              <a:off x="11631450" y="858042"/>
              <a:ext cx="543120" cy="675214"/>
            </a:xfrm>
            <a:custGeom>
              <a:avLst/>
              <a:gdLst>
                <a:gd name="T0" fmla="*/ 643 w 1766"/>
                <a:gd name="T1" fmla="*/ 1936 h 2204"/>
                <a:gd name="T2" fmla="*/ 1224 w 1766"/>
                <a:gd name="T3" fmla="*/ 1818 h 2204"/>
                <a:gd name="T4" fmla="*/ 1224 w 1766"/>
                <a:gd name="T5" fmla="*/ 118 h 2204"/>
                <a:gd name="T6" fmla="*/ 643 w 1766"/>
                <a:gd name="T7" fmla="*/ 0 h 2204"/>
                <a:gd name="T8" fmla="*/ 575 w 1766"/>
                <a:gd name="T9" fmla="*/ 360 h 2204"/>
                <a:gd name="T10" fmla="*/ 763 w 1766"/>
                <a:gd name="T11" fmla="*/ 473 h 2204"/>
                <a:gd name="T12" fmla="*/ 598 w 1766"/>
                <a:gd name="T13" fmla="*/ 587 h 2204"/>
                <a:gd name="T14" fmla="*/ 763 w 1766"/>
                <a:gd name="T15" fmla="*/ 701 h 2204"/>
                <a:gd name="T16" fmla="*/ 611 w 1766"/>
                <a:gd name="T17" fmla="*/ 815 h 2204"/>
                <a:gd name="T18" fmla="*/ 763 w 1766"/>
                <a:gd name="T19" fmla="*/ 929 h 2204"/>
                <a:gd name="T20" fmla="*/ 550 w 1766"/>
                <a:gd name="T21" fmla="*/ 1765 h 2204"/>
                <a:gd name="T22" fmla="*/ 883 w 1766"/>
                <a:gd name="T23" fmla="*/ 1512 h 2204"/>
                <a:gd name="T24" fmla="*/ 883 w 1766"/>
                <a:gd name="T25" fmla="*/ 1748 h 2204"/>
                <a:gd name="T26" fmla="*/ 883 w 1766"/>
                <a:gd name="T27" fmla="*/ 1512 h 2204"/>
                <a:gd name="T28" fmla="*/ 938 w 1766"/>
                <a:gd name="T29" fmla="*/ 1630 h 2204"/>
                <a:gd name="T30" fmla="*/ 828 w 1766"/>
                <a:gd name="T31" fmla="*/ 1630 h 2204"/>
                <a:gd name="T32" fmla="*/ 1334 w 1766"/>
                <a:gd name="T33" fmla="*/ 1765 h 2204"/>
                <a:gd name="T34" fmla="*/ 1299 w 1766"/>
                <a:gd name="T35" fmla="*/ 1806 h 2204"/>
                <a:gd name="T36" fmla="*/ 1123 w 1766"/>
                <a:gd name="T37" fmla="*/ 2012 h 2204"/>
                <a:gd name="T38" fmla="*/ 507 w 1766"/>
                <a:gd name="T39" fmla="*/ 1951 h 2204"/>
                <a:gd name="T40" fmla="*/ 473 w 1766"/>
                <a:gd name="T41" fmla="*/ 1765 h 2204"/>
                <a:gd name="T42" fmla="*/ 272 w 1766"/>
                <a:gd name="T43" fmla="*/ 1925 h 2204"/>
                <a:gd name="T44" fmla="*/ 432 w 1766"/>
                <a:gd name="T45" fmla="*/ 2204 h 2204"/>
                <a:gd name="T46" fmla="*/ 1494 w 1766"/>
                <a:gd name="T47" fmla="*/ 2044 h 2204"/>
                <a:gd name="T48" fmla="*/ 1334 w 1766"/>
                <a:gd name="T49" fmla="*/ 1765 h 2204"/>
                <a:gd name="T50" fmla="*/ 1318 w 1766"/>
                <a:gd name="T51" fmla="*/ 531 h 2204"/>
                <a:gd name="T52" fmla="*/ 1426 w 1766"/>
                <a:gd name="T53" fmla="*/ 676 h 2204"/>
                <a:gd name="T54" fmla="*/ 448 w 1766"/>
                <a:gd name="T55" fmla="*/ 531 h 2204"/>
                <a:gd name="T56" fmla="*/ 448 w 1766"/>
                <a:gd name="T57" fmla="*/ 822 h 2204"/>
                <a:gd name="T58" fmla="*/ 1701 w 1766"/>
                <a:gd name="T59" fmla="*/ 676 h 2204"/>
                <a:gd name="T60" fmla="*/ 1764 w 1766"/>
                <a:gd name="T61" fmla="*/ 676 h 2204"/>
                <a:gd name="T62" fmla="*/ 1416 w 1766"/>
                <a:gd name="T63" fmla="*/ 426 h 2204"/>
                <a:gd name="T64" fmla="*/ 1416 w 1766"/>
                <a:gd name="T65" fmla="*/ 927 h 2204"/>
                <a:gd name="T66" fmla="*/ 1416 w 1766"/>
                <a:gd name="T67" fmla="*/ 426 h 2204"/>
                <a:gd name="T68" fmla="*/ 350 w 1766"/>
                <a:gd name="T69" fmla="*/ 426 h 2204"/>
                <a:gd name="T70" fmla="*/ 350 w 1766"/>
                <a:gd name="T71" fmla="*/ 927 h 2204"/>
                <a:gd name="T72" fmla="*/ 217 w 1766"/>
                <a:gd name="T73" fmla="*/ 310 h 2204"/>
                <a:gd name="T74" fmla="*/ 217 w 1766"/>
                <a:gd name="T75" fmla="*/ 1043 h 2204"/>
                <a:gd name="T76" fmla="*/ 217 w 1766"/>
                <a:gd name="T77" fmla="*/ 310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6" h="2204">
                  <a:moveTo>
                    <a:pt x="542" y="1818"/>
                  </a:moveTo>
                  <a:cubicBezTo>
                    <a:pt x="532" y="1883"/>
                    <a:pt x="577" y="1936"/>
                    <a:pt x="643" y="1936"/>
                  </a:cubicBezTo>
                  <a:cubicBezTo>
                    <a:pt x="1123" y="1936"/>
                    <a:pt x="1123" y="1936"/>
                    <a:pt x="1123" y="1936"/>
                  </a:cubicBezTo>
                  <a:cubicBezTo>
                    <a:pt x="1189" y="1936"/>
                    <a:pt x="1234" y="1883"/>
                    <a:pt x="1224" y="1818"/>
                  </a:cubicBezTo>
                  <a:cubicBezTo>
                    <a:pt x="1221" y="1800"/>
                    <a:pt x="1219" y="1783"/>
                    <a:pt x="1216" y="1765"/>
                  </a:cubicBezTo>
                  <a:cubicBezTo>
                    <a:pt x="1129" y="1162"/>
                    <a:pt x="1132" y="731"/>
                    <a:pt x="1224" y="118"/>
                  </a:cubicBezTo>
                  <a:cubicBezTo>
                    <a:pt x="1234" y="52"/>
                    <a:pt x="1189" y="0"/>
                    <a:pt x="1123" y="0"/>
                  </a:cubicBezTo>
                  <a:cubicBezTo>
                    <a:pt x="643" y="0"/>
                    <a:pt x="643" y="0"/>
                    <a:pt x="643" y="0"/>
                  </a:cubicBezTo>
                  <a:cubicBezTo>
                    <a:pt x="577" y="0"/>
                    <a:pt x="532" y="52"/>
                    <a:pt x="542" y="118"/>
                  </a:cubicBezTo>
                  <a:cubicBezTo>
                    <a:pt x="555" y="202"/>
                    <a:pt x="565" y="282"/>
                    <a:pt x="575" y="360"/>
                  </a:cubicBezTo>
                  <a:cubicBezTo>
                    <a:pt x="763" y="360"/>
                    <a:pt x="763" y="360"/>
                    <a:pt x="763" y="360"/>
                  </a:cubicBezTo>
                  <a:cubicBezTo>
                    <a:pt x="763" y="473"/>
                    <a:pt x="763" y="473"/>
                    <a:pt x="763" y="473"/>
                  </a:cubicBezTo>
                  <a:cubicBezTo>
                    <a:pt x="587" y="473"/>
                    <a:pt x="587" y="473"/>
                    <a:pt x="587" y="473"/>
                  </a:cubicBezTo>
                  <a:cubicBezTo>
                    <a:pt x="591" y="512"/>
                    <a:pt x="595" y="550"/>
                    <a:pt x="598" y="587"/>
                  </a:cubicBezTo>
                  <a:cubicBezTo>
                    <a:pt x="763" y="587"/>
                    <a:pt x="763" y="587"/>
                    <a:pt x="763" y="587"/>
                  </a:cubicBezTo>
                  <a:cubicBezTo>
                    <a:pt x="763" y="701"/>
                    <a:pt x="763" y="701"/>
                    <a:pt x="763" y="701"/>
                  </a:cubicBezTo>
                  <a:cubicBezTo>
                    <a:pt x="605" y="701"/>
                    <a:pt x="605" y="701"/>
                    <a:pt x="605" y="701"/>
                  </a:cubicBezTo>
                  <a:cubicBezTo>
                    <a:pt x="608" y="739"/>
                    <a:pt x="609" y="777"/>
                    <a:pt x="611" y="815"/>
                  </a:cubicBezTo>
                  <a:cubicBezTo>
                    <a:pt x="763" y="815"/>
                    <a:pt x="763" y="815"/>
                    <a:pt x="763" y="815"/>
                  </a:cubicBezTo>
                  <a:cubicBezTo>
                    <a:pt x="763" y="929"/>
                    <a:pt x="763" y="929"/>
                    <a:pt x="763" y="929"/>
                  </a:cubicBezTo>
                  <a:cubicBezTo>
                    <a:pt x="613" y="929"/>
                    <a:pt x="613" y="929"/>
                    <a:pt x="613" y="929"/>
                  </a:cubicBezTo>
                  <a:cubicBezTo>
                    <a:pt x="615" y="1194"/>
                    <a:pt x="594" y="1457"/>
                    <a:pt x="550" y="1765"/>
                  </a:cubicBezTo>
                  <a:cubicBezTo>
                    <a:pt x="547" y="1783"/>
                    <a:pt x="545" y="1800"/>
                    <a:pt x="542" y="1818"/>
                  </a:cubicBezTo>
                  <a:close/>
                  <a:moveTo>
                    <a:pt x="883" y="1512"/>
                  </a:moveTo>
                  <a:cubicBezTo>
                    <a:pt x="948" y="1512"/>
                    <a:pt x="1001" y="1565"/>
                    <a:pt x="1001" y="1630"/>
                  </a:cubicBezTo>
                  <a:cubicBezTo>
                    <a:pt x="1001" y="1696"/>
                    <a:pt x="948" y="1748"/>
                    <a:pt x="883" y="1748"/>
                  </a:cubicBezTo>
                  <a:cubicBezTo>
                    <a:pt x="818" y="1748"/>
                    <a:pt x="765" y="1696"/>
                    <a:pt x="765" y="1630"/>
                  </a:cubicBezTo>
                  <a:cubicBezTo>
                    <a:pt x="765" y="1565"/>
                    <a:pt x="818" y="1512"/>
                    <a:pt x="883" y="1512"/>
                  </a:cubicBezTo>
                  <a:close/>
                  <a:moveTo>
                    <a:pt x="883" y="1685"/>
                  </a:moveTo>
                  <a:cubicBezTo>
                    <a:pt x="913" y="1685"/>
                    <a:pt x="938" y="1661"/>
                    <a:pt x="938" y="1630"/>
                  </a:cubicBezTo>
                  <a:cubicBezTo>
                    <a:pt x="938" y="1600"/>
                    <a:pt x="913" y="1576"/>
                    <a:pt x="883" y="1576"/>
                  </a:cubicBezTo>
                  <a:cubicBezTo>
                    <a:pt x="853" y="1576"/>
                    <a:pt x="828" y="1600"/>
                    <a:pt x="828" y="1630"/>
                  </a:cubicBezTo>
                  <a:cubicBezTo>
                    <a:pt x="828" y="1661"/>
                    <a:pt x="853" y="1685"/>
                    <a:pt x="883" y="1685"/>
                  </a:cubicBezTo>
                  <a:close/>
                  <a:moveTo>
                    <a:pt x="1334" y="1765"/>
                  </a:moveTo>
                  <a:cubicBezTo>
                    <a:pt x="1293" y="1765"/>
                    <a:pt x="1293" y="1765"/>
                    <a:pt x="1293" y="1765"/>
                  </a:cubicBezTo>
                  <a:cubicBezTo>
                    <a:pt x="1295" y="1779"/>
                    <a:pt x="1297" y="1792"/>
                    <a:pt x="1299" y="1806"/>
                  </a:cubicBezTo>
                  <a:cubicBezTo>
                    <a:pt x="1307" y="1860"/>
                    <a:pt x="1293" y="1913"/>
                    <a:pt x="1259" y="1951"/>
                  </a:cubicBezTo>
                  <a:cubicBezTo>
                    <a:pt x="1226" y="1991"/>
                    <a:pt x="1177" y="2012"/>
                    <a:pt x="1123" y="2012"/>
                  </a:cubicBezTo>
                  <a:cubicBezTo>
                    <a:pt x="643" y="2012"/>
                    <a:pt x="643" y="2012"/>
                    <a:pt x="643" y="2012"/>
                  </a:cubicBezTo>
                  <a:cubicBezTo>
                    <a:pt x="589" y="2012"/>
                    <a:pt x="540" y="1991"/>
                    <a:pt x="507" y="1951"/>
                  </a:cubicBezTo>
                  <a:cubicBezTo>
                    <a:pt x="473" y="1913"/>
                    <a:pt x="459" y="1860"/>
                    <a:pt x="467" y="1806"/>
                  </a:cubicBezTo>
                  <a:cubicBezTo>
                    <a:pt x="469" y="1792"/>
                    <a:pt x="471" y="1779"/>
                    <a:pt x="473" y="1765"/>
                  </a:cubicBezTo>
                  <a:cubicBezTo>
                    <a:pt x="432" y="1765"/>
                    <a:pt x="432" y="1765"/>
                    <a:pt x="432" y="1765"/>
                  </a:cubicBezTo>
                  <a:cubicBezTo>
                    <a:pt x="344" y="1765"/>
                    <a:pt x="272" y="1837"/>
                    <a:pt x="272" y="1925"/>
                  </a:cubicBezTo>
                  <a:cubicBezTo>
                    <a:pt x="272" y="2044"/>
                    <a:pt x="272" y="2044"/>
                    <a:pt x="272" y="2044"/>
                  </a:cubicBezTo>
                  <a:cubicBezTo>
                    <a:pt x="272" y="2132"/>
                    <a:pt x="344" y="2204"/>
                    <a:pt x="432" y="2204"/>
                  </a:cubicBezTo>
                  <a:cubicBezTo>
                    <a:pt x="1334" y="2204"/>
                    <a:pt x="1334" y="2204"/>
                    <a:pt x="1334" y="2204"/>
                  </a:cubicBezTo>
                  <a:cubicBezTo>
                    <a:pt x="1422" y="2204"/>
                    <a:pt x="1494" y="2132"/>
                    <a:pt x="1494" y="2044"/>
                  </a:cubicBezTo>
                  <a:cubicBezTo>
                    <a:pt x="1494" y="1925"/>
                    <a:pt x="1494" y="1925"/>
                    <a:pt x="1494" y="1925"/>
                  </a:cubicBezTo>
                  <a:cubicBezTo>
                    <a:pt x="1494" y="1837"/>
                    <a:pt x="1422" y="1765"/>
                    <a:pt x="1334" y="1765"/>
                  </a:cubicBezTo>
                  <a:close/>
                  <a:moveTo>
                    <a:pt x="1426" y="676"/>
                  </a:moveTo>
                  <a:cubicBezTo>
                    <a:pt x="1427" y="601"/>
                    <a:pt x="1373" y="541"/>
                    <a:pt x="1318" y="531"/>
                  </a:cubicBezTo>
                  <a:cubicBezTo>
                    <a:pt x="1398" y="606"/>
                    <a:pt x="1398" y="746"/>
                    <a:pt x="1318" y="822"/>
                  </a:cubicBezTo>
                  <a:cubicBezTo>
                    <a:pt x="1373" y="812"/>
                    <a:pt x="1427" y="751"/>
                    <a:pt x="1426" y="676"/>
                  </a:cubicBezTo>
                  <a:close/>
                  <a:moveTo>
                    <a:pt x="448" y="822"/>
                  </a:moveTo>
                  <a:cubicBezTo>
                    <a:pt x="368" y="746"/>
                    <a:pt x="368" y="606"/>
                    <a:pt x="448" y="531"/>
                  </a:cubicBezTo>
                  <a:cubicBezTo>
                    <a:pt x="393" y="541"/>
                    <a:pt x="339" y="601"/>
                    <a:pt x="340" y="676"/>
                  </a:cubicBezTo>
                  <a:cubicBezTo>
                    <a:pt x="339" y="751"/>
                    <a:pt x="393" y="812"/>
                    <a:pt x="448" y="822"/>
                  </a:cubicBezTo>
                  <a:close/>
                  <a:moveTo>
                    <a:pt x="1549" y="310"/>
                  </a:moveTo>
                  <a:cubicBezTo>
                    <a:pt x="1646" y="405"/>
                    <a:pt x="1702" y="540"/>
                    <a:pt x="1701" y="676"/>
                  </a:cubicBezTo>
                  <a:cubicBezTo>
                    <a:pt x="1702" y="812"/>
                    <a:pt x="1646" y="947"/>
                    <a:pt x="1549" y="1043"/>
                  </a:cubicBezTo>
                  <a:cubicBezTo>
                    <a:pt x="1662" y="990"/>
                    <a:pt x="1766" y="846"/>
                    <a:pt x="1764" y="676"/>
                  </a:cubicBezTo>
                  <a:cubicBezTo>
                    <a:pt x="1766" y="506"/>
                    <a:pt x="1662" y="362"/>
                    <a:pt x="1549" y="310"/>
                  </a:cubicBezTo>
                  <a:close/>
                  <a:moveTo>
                    <a:pt x="1416" y="426"/>
                  </a:moveTo>
                  <a:cubicBezTo>
                    <a:pt x="1483" y="492"/>
                    <a:pt x="1527" y="583"/>
                    <a:pt x="1527" y="676"/>
                  </a:cubicBezTo>
                  <a:cubicBezTo>
                    <a:pt x="1527" y="770"/>
                    <a:pt x="1483" y="860"/>
                    <a:pt x="1416" y="927"/>
                  </a:cubicBezTo>
                  <a:cubicBezTo>
                    <a:pt x="1499" y="895"/>
                    <a:pt x="1582" y="800"/>
                    <a:pt x="1582" y="676"/>
                  </a:cubicBezTo>
                  <a:cubicBezTo>
                    <a:pt x="1582" y="553"/>
                    <a:pt x="1499" y="457"/>
                    <a:pt x="1416" y="426"/>
                  </a:cubicBezTo>
                  <a:close/>
                  <a:moveTo>
                    <a:pt x="239" y="676"/>
                  </a:moveTo>
                  <a:cubicBezTo>
                    <a:pt x="239" y="583"/>
                    <a:pt x="283" y="492"/>
                    <a:pt x="350" y="426"/>
                  </a:cubicBezTo>
                  <a:cubicBezTo>
                    <a:pt x="267" y="457"/>
                    <a:pt x="184" y="553"/>
                    <a:pt x="184" y="676"/>
                  </a:cubicBezTo>
                  <a:cubicBezTo>
                    <a:pt x="184" y="800"/>
                    <a:pt x="267" y="895"/>
                    <a:pt x="350" y="927"/>
                  </a:cubicBezTo>
                  <a:cubicBezTo>
                    <a:pt x="283" y="860"/>
                    <a:pt x="239" y="770"/>
                    <a:pt x="239" y="676"/>
                  </a:cubicBezTo>
                  <a:close/>
                  <a:moveTo>
                    <a:pt x="217" y="310"/>
                  </a:moveTo>
                  <a:cubicBezTo>
                    <a:pt x="104" y="362"/>
                    <a:pt x="0" y="506"/>
                    <a:pt x="2" y="676"/>
                  </a:cubicBezTo>
                  <a:cubicBezTo>
                    <a:pt x="0" y="846"/>
                    <a:pt x="104" y="990"/>
                    <a:pt x="217" y="1043"/>
                  </a:cubicBezTo>
                  <a:cubicBezTo>
                    <a:pt x="120" y="947"/>
                    <a:pt x="64" y="812"/>
                    <a:pt x="65" y="676"/>
                  </a:cubicBezTo>
                  <a:cubicBezTo>
                    <a:pt x="64" y="540"/>
                    <a:pt x="120" y="405"/>
                    <a:pt x="217" y="310"/>
                  </a:cubicBezTo>
                  <a:close/>
                </a:path>
              </a:pathLst>
            </a:custGeom>
            <a:solidFill>
              <a:schemeClr val="accent3"/>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73"/>
            <p:cNvSpPr>
              <a:spLocks noEditPoints="1"/>
            </p:cNvSpPr>
            <p:nvPr/>
          </p:nvSpPr>
          <p:spPr bwMode="black">
            <a:xfrm>
              <a:off x="8898841" y="4504995"/>
              <a:ext cx="624514" cy="60288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00BCF2"/>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81"/>
            <p:cNvSpPr>
              <a:spLocks noEditPoints="1"/>
            </p:cNvSpPr>
            <p:nvPr/>
          </p:nvSpPr>
          <p:spPr bwMode="black">
            <a:xfrm>
              <a:off x="9617872" y="3888833"/>
              <a:ext cx="1025671" cy="6260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90"/>
            <p:cNvSpPr>
              <a:spLocks noEditPoints="1"/>
            </p:cNvSpPr>
            <p:nvPr/>
          </p:nvSpPr>
          <p:spPr bwMode="black">
            <a:xfrm>
              <a:off x="10993843" y="1285173"/>
              <a:ext cx="324638" cy="35616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4"/>
            </a:solidFill>
            <a:ln>
              <a:noFill/>
            </a:ln>
            <a:extLst/>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grpSp>
          <p:nvGrpSpPr>
            <p:cNvPr id="31" name="Group 103"/>
            <p:cNvGrpSpPr>
              <a:grpSpLocks noChangeAspect="1"/>
            </p:cNvGrpSpPr>
            <p:nvPr/>
          </p:nvGrpSpPr>
          <p:grpSpPr bwMode="black">
            <a:xfrm>
              <a:off x="9053290" y="124517"/>
              <a:ext cx="729349" cy="551318"/>
              <a:chOff x="5152725" y="4450437"/>
              <a:chExt cx="311284" cy="235362"/>
            </a:xfrm>
            <a:solidFill>
              <a:schemeClr val="accent3"/>
            </a:solidFill>
          </p:grpSpPr>
          <p:sp>
            <p:nvSpPr>
              <p:cNvPr id="85"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accent4"/>
              </a:solidFill>
              <a:ln>
                <a:solidFill>
                  <a:schemeClr val="accent4"/>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86"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accent4"/>
              </a:solidFill>
              <a:ln>
                <a:solidFill>
                  <a:schemeClr val="accent4"/>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32" name="Freeform 11"/>
            <p:cNvSpPr>
              <a:spLocks noEditPoints="1"/>
            </p:cNvSpPr>
            <p:nvPr/>
          </p:nvSpPr>
          <p:spPr bwMode="gray">
            <a:xfrm>
              <a:off x="11522174" y="1839603"/>
              <a:ext cx="866420" cy="645873"/>
            </a:xfrm>
            <a:custGeom>
              <a:avLst/>
              <a:gdLst>
                <a:gd name="T0" fmla="*/ 165 w 194"/>
                <a:gd name="T1" fmla="*/ 83 h 144"/>
                <a:gd name="T2" fmla="*/ 178 w 194"/>
                <a:gd name="T3" fmla="*/ 131 h 144"/>
                <a:gd name="T4" fmla="*/ 23 w 194"/>
                <a:gd name="T5" fmla="*/ 21 h 144"/>
                <a:gd name="T6" fmla="*/ 70 w 194"/>
                <a:gd name="T7" fmla="*/ 5 h 144"/>
                <a:gd name="T8" fmla="*/ 40 w 194"/>
                <a:gd name="T9" fmla="*/ 1 h 144"/>
                <a:gd name="T10" fmla="*/ 34 w 194"/>
                <a:gd name="T11" fmla="*/ 17 h 144"/>
                <a:gd name="T12" fmla="*/ 0 w 194"/>
                <a:gd name="T13" fmla="*/ 22 h 144"/>
                <a:gd name="T14" fmla="*/ 16 w 194"/>
                <a:gd name="T15" fmla="*/ 14 h 144"/>
                <a:gd name="T16" fmla="*/ 122 w 194"/>
                <a:gd name="T17" fmla="*/ 131 h 144"/>
                <a:gd name="T18" fmla="*/ 32 w 194"/>
                <a:gd name="T19" fmla="*/ 72 h 144"/>
                <a:gd name="T20" fmla="*/ 59 w 194"/>
                <a:gd name="T21" fmla="*/ 36 h 144"/>
                <a:gd name="T22" fmla="*/ 66 w 194"/>
                <a:gd name="T23" fmla="*/ 55 h 144"/>
                <a:gd name="T24" fmla="*/ 70 w 194"/>
                <a:gd name="T25" fmla="*/ 28 h 144"/>
                <a:gd name="T26" fmla="*/ 96 w 194"/>
                <a:gd name="T27" fmla="*/ 8 h 144"/>
                <a:gd name="T28" fmla="*/ 146 w 194"/>
                <a:gd name="T29" fmla="*/ 112 h 144"/>
                <a:gd name="T30" fmla="*/ 145 w 194"/>
                <a:gd name="T31" fmla="*/ 90 h 144"/>
                <a:gd name="T32" fmla="*/ 116 w 194"/>
                <a:gd name="T33" fmla="*/ 120 h 144"/>
                <a:gd name="T34" fmla="*/ 65 w 194"/>
                <a:gd name="T35" fmla="*/ 89 h 144"/>
                <a:gd name="T36" fmla="*/ 65 w 194"/>
                <a:gd name="T37" fmla="*/ 62 h 144"/>
                <a:gd name="T38" fmla="*/ 44 w 194"/>
                <a:gd name="T39" fmla="*/ 72 h 144"/>
                <a:gd name="T40" fmla="*/ 76 w 194"/>
                <a:gd name="T41" fmla="*/ 120 h 144"/>
                <a:gd name="T42" fmla="*/ 48 w 194"/>
                <a:gd name="T43" fmla="*/ 91 h 144"/>
                <a:gd name="T44" fmla="*/ 76 w 194"/>
                <a:gd name="T45" fmla="*/ 120 h 144"/>
                <a:gd name="T46" fmla="*/ 74 w 194"/>
                <a:gd name="T47" fmla="*/ 98 h 144"/>
                <a:gd name="T48" fmla="*/ 93 w 194"/>
                <a:gd name="T49" fmla="*/ 99 h 144"/>
                <a:gd name="T50" fmla="*/ 72 w 194"/>
                <a:gd name="T51" fmla="*/ 63 h 144"/>
                <a:gd name="T52" fmla="*/ 73 w 194"/>
                <a:gd name="T53" fmla="*/ 90 h 144"/>
                <a:gd name="T54" fmla="*/ 93 w 194"/>
                <a:gd name="T55" fmla="*/ 64 h 144"/>
                <a:gd name="T56" fmla="*/ 87 w 194"/>
                <a:gd name="T57" fmla="*/ 23 h 144"/>
                <a:gd name="T58" fmla="*/ 93 w 194"/>
                <a:gd name="T59" fmla="*/ 57 h 144"/>
                <a:gd name="T60" fmla="*/ 146 w 194"/>
                <a:gd name="T61" fmla="*/ 57 h 144"/>
                <a:gd name="T62" fmla="*/ 128 w 194"/>
                <a:gd name="T63" fmla="*/ 73 h 144"/>
                <a:gd name="T64" fmla="*/ 148 w 194"/>
                <a:gd name="T65" fmla="*/ 79 h 144"/>
                <a:gd name="T66" fmla="*/ 146 w 194"/>
                <a:gd name="T67" fmla="*/ 57 h 144"/>
                <a:gd name="T68" fmla="*/ 127 w 194"/>
                <a:gd name="T69" fmla="*/ 55 h 144"/>
                <a:gd name="T70" fmla="*/ 133 w 194"/>
                <a:gd name="T71" fmla="*/ 36 h 144"/>
                <a:gd name="T72" fmla="*/ 100 w 194"/>
                <a:gd name="T73" fmla="*/ 57 h 144"/>
                <a:gd name="T74" fmla="*/ 100 w 194"/>
                <a:gd name="T75" fmla="*/ 21 h 144"/>
                <a:gd name="T76" fmla="*/ 100 w 194"/>
                <a:gd name="T77" fmla="*/ 57 h 144"/>
                <a:gd name="T78" fmla="*/ 120 w 194"/>
                <a:gd name="T79" fmla="*/ 90 h 144"/>
                <a:gd name="T80" fmla="*/ 121 w 194"/>
                <a:gd name="T81" fmla="*/ 63 h 144"/>
                <a:gd name="T82" fmla="*/ 100 w 194"/>
                <a:gd name="T83" fmla="*/ 92 h 144"/>
                <a:gd name="T84" fmla="*/ 118 w 194"/>
                <a:gd name="T85" fmla="*/ 98 h 144"/>
                <a:gd name="T86" fmla="*/ 100 w 194"/>
                <a:gd name="T87" fmla="*/ 124 h 144"/>
                <a:gd name="T88" fmla="*/ 160 w 194"/>
                <a:gd name="T89" fmla="*/ 127 h 144"/>
                <a:gd name="T90" fmla="*/ 130 w 194"/>
                <a:gd name="T91" fmla="*/ 110 h 144"/>
                <a:gd name="T92" fmla="*/ 137 w 194"/>
                <a:gd name="T93" fmla="*/ 135 h 144"/>
                <a:gd name="T94" fmla="*/ 178 w 194"/>
                <a:gd name="T95" fmla="*/ 13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4">
                  <a:moveTo>
                    <a:pt x="178" y="131"/>
                  </a:moveTo>
                  <a:cubicBezTo>
                    <a:pt x="185" y="116"/>
                    <a:pt x="165" y="83"/>
                    <a:pt x="165" y="83"/>
                  </a:cubicBezTo>
                  <a:cubicBezTo>
                    <a:pt x="165" y="83"/>
                    <a:pt x="194" y="100"/>
                    <a:pt x="194" y="123"/>
                  </a:cubicBezTo>
                  <a:cubicBezTo>
                    <a:pt x="190" y="125"/>
                    <a:pt x="184" y="128"/>
                    <a:pt x="178" y="131"/>
                  </a:cubicBezTo>
                  <a:close/>
                  <a:moveTo>
                    <a:pt x="34" y="17"/>
                  </a:moveTo>
                  <a:cubicBezTo>
                    <a:pt x="23" y="21"/>
                    <a:pt x="23" y="21"/>
                    <a:pt x="23" y="21"/>
                  </a:cubicBezTo>
                  <a:cubicBezTo>
                    <a:pt x="65" y="34"/>
                    <a:pt x="65" y="34"/>
                    <a:pt x="65" y="34"/>
                  </a:cubicBezTo>
                  <a:cubicBezTo>
                    <a:pt x="70" y="5"/>
                    <a:pt x="70" y="5"/>
                    <a:pt x="70" y="5"/>
                  </a:cubicBezTo>
                  <a:cubicBezTo>
                    <a:pt x="58" y="9"/>
                    <a:pt x="58" y="9"/>
                    <a:pt x="58" y="9"/>
                  </a:cubicBezTo>
                  <a:cubicBezTo>
                    <a:pt x="55" y="6"/>
                    <a:pt x="47" y="0"/>
                    <a:pt x="40" y="1"/>
                  </a:cubicBezTo>
                  <a:cubicBezTo>
                    <a:pt x="36" y="2"/>
                    <a:pt x="22" y="8"/>
                    <a:pt x="16" y="11"/>
                  </a:cubicBezTo>
                  <a:cubicBezTo>
                    <a:pt x="23" y="9"/>
                    <a:pt x="31" y="15"/>
                    <a:pt x="34" y="17"/>
                  </a:cubicBezTo>
                  <a:close/>
                  <a:moveTo>
                    <a:pt x="16" y="14"/>
                  </a:moveTo>
                  <a:cubicBezTo>
                    <a:pt x="11" y="16"/>
                    <a:pt x="4" y="19"/>
                    <a:pt x="0" y="22"/>
                  </a:cubicBezTo>
                  <a:cubicBezTo>
                    <a:pt x="0" y="44"/>
                    <a:pt x="30" y="61"/>
                    <a:pt x="30" y="61"/>
                  </a:cubicBezTo>
                  <a:cubicBezTo>
                    <a:pt x="30" y="61"/>
                    <a:pt x="10" y="28"/>
                    <a:pt x="16" y="14"/>
                  </a:cubicBezTo>
                  <a:close/>
                  <a:moveTo>
                    <a:pt x="125" y="115"/>
                  </a:moveTo>
                  <a:cubicBezTo>
                    <a:pt x="122" y="131"/>
                    <a:pt x="122" y="131"/>
                    <a:pt x="122" y="131"/>
                  </a:cubicBezTo>
                  <a:cubicBezTo>
                    <a:pt x="114" y="134"/>
                    <a:pt x="105" y="136"/>
                    <a:pt x="96" y="136"/>
                  </a:cubicBezTo>
                  <a:cubicBezTo>
                    <a:pt x="60" y="136"/>
                    <a:pt x="32" y="108"/>
                    <a:pt x="32" y="72"/>
                  </a:cubicBezTo>
                  <a:cubicBezTo>
                    <a:pt x="32" y="57"/>
                    <a:pt x="38" y="43"/>
                    <a:pt x="47" y="32"/>
                  </a:cubicBezTo>
                  <a:cubicBezTo>
                    <a:pt x="59" y="36"/>
                    <a:pt x="59" y="36"/>
                    <a:pt x="59" y="36"/>
                  </a:cubicBezTo>
                  <a:cubicBezTo>
                    <a:pt x="55" y="40"/>
                    <a:pt x="52" y="45"/>
                    <a:pt x="49" y="50"/>
                  </a:cubicBezTo>
                  <a:cubicBezTo>
                    <a:pt x="51" y="52"/>
                    <a:pt x="55" y="53"/>
                    <a:pt x="66" y="55"/>
                  </a:cubicBezTo>
                  <a:cubicBezTo>
                    <a:pt x="68" y="42"/>
                    <a:pt x="71" y="32"/>
                    <a:pt x="77" y="24"/>
                  </a:cubicBezTo>
                  <a:cubicBezTo>
                    <a:pt x="75" y="25"/>
                    <a:pt x="72" y="26"/>
                    <a:pt x="70" y="28"/>
                  </a:cubicBezTo>
                  <a:cubicBezTo>
                    <a:pt x="72" y="13"/>
                    <a:pt x="72" y="13"/>
                    <a:pt x="72" y="13"/>
                  </a:cubicBezTo>
                  <a:cubicBezTo>
                    <a:pt x="80" y="10"/>
                    <a:pt x="88" y="8"/>
                    <a:pt x="96" y="8"/>
                  </a:cubicBezTo>
                  <a:cubicBezTo>
                    <a:pt x="132" y="8"/>
                    <a:pt x="160" y="37"/>
                    <a:pt x="160" y="72"/>
                  </a:cubicBezTo>
                  <a:cubicBezTo>
                    <a:pt x="160" y="87"/>
                    <a:pt x="155" y="101"/>
                    <a:pt x="146" y="112"/>
                  </a:cubicBezTo>
                  <a:cubicBezTo>
                    <a:pt x="134" y="108"/>
                    <a:pt x="134" y="108"/>
                    <a:pt x="134" y="108"/>
                  </a:cubicBezTo>
                  <a:cubicBezTo>
                    <a:pt x="139" y="103"/>
                    <a:pt x="142" y="97"/>
                    <a:pt x="145" y="90"/>
                  </a:cubicBezTo>
                  <a:cubicBezTo>
                    <a:pt x="141" y="93"/>
                    <a:pt x="133" y="95"/>
                    <a:pt x="126" y="96"/>
                  </a:cubicBezTo>
                  <a:cubicBezTo>
                    <a:pt x="124" y="106"/>
                    <a:pt x="121" y="114"/>
                    <a:pt x="116" y="120"/>
                  </a:cubicBezTo>
                  <a:cubicBezTo>
                    <a:pt x="119" y="119"/>
                    <a:pt x="122" y="117"/>
                    <a:pt x="125" y="115"/>
                  </a:cubicBezTo>
                  <a:close/>
                  <a:moveTo>
                    <a:pt x="65" y="89"/>
                  </a:moveTo>
                  <a:cubicBezTo>
                    <a:pt x="65" y="84"/>
                    <a:pt x="64" y="78"/>
                    <a:pt x="64" y="73"/>
                  </a:cubicBezTo>
                  <a:cubicBezTo>
                    <a:pt x="64" y="69"/>
                    <a:pt x="64" y="66"/>
                    <a:pt x="65" y="62"/>
                  </a:cubicBezTo>
                  <a:cubicBezTo>
                    <a:pt x="57" y="61"/>
                    <a:pt x="50" y="59"/>
                    <a:pt x="46" y="57"/>
                  </a:cubicBezTo>
                  <a:cubicBezTo>
                    <a:pt x="45" y="62"/>
                    <a:pt x="44" y="67"/>
                    <a:pt x="44" y="72"/>
                  </a:cubicBezTo>
                  <a:cubicBezTo>
                    <a:pt x="44" y="81"/>
                    <a:pt x="45" y="85"/>
                    <a:pt x="65" y="89"/>
                  </a:cubicBezTo>
                  <a:close/>
                  <a:moveTo>
                    <a:pt x="76" y="120"/>
                  </a:moveTo>
                  <a:cubicBezTo>
                    <a:pt x="72" y="114"/>
                    <a:pt x="69" y="106"/>
                    <a:pt x="67" y="97"/>
                  </a:cubicBezTo>
                  <a:cubicBezTo>
                    <a:pt x="59" y="95"/>
                    <a:pt x="53" y="93"/>
                    <a:pt x="48" y="91"/>
                  </a:cubicBezTo>
                  <a:cubicBezTo>
                    <a:pt x="50" y="98"/>
                    <a:pt x="54" y="104"/>
                    <a:pt x="59" y="109"/>
                  </a:cubicBezTo>
                  <a:cubicBezTo>
                    <a:pt x="64" y="114"/>
                    <a:pt x="70" y="118"/>
                    <a:pt x="76" y="120"/>
                  </a:cubicBezTo>
                  <a:close/>
                  <a:moveTo>
                    <a:pt x="93" y="99"/>
                  </a:moveTo>
                  <a:cubicBezTo>
                    <a:pt x="86" y="99"/>
                    <a:pt x="80" y="98"/>
                    <a:pt x="74" y="98"/>
                  </a:cubicBezTo>
                  <a:cubicBezTo>
                    <a:pt x="77" y="107"/>
                    <a:pt x="82" y="124"/>
                    <a:pt x="93" y="124"/>
                  </a:cubicBezTo>
                  <a:cubicBezTo>
                    <a:pt x="93" y="124"/>
                    <a:pt x="93" y="124"/>
                    <a:pt x="93" y="99"/>
                  </a:cubicBezTo>
                  <a:close/>
                  <a:moveTo>
                    <a:pt x="93" y="64"/>
                  </a:moveTo>
                  <a:cubicBezTo>
                    <a:pt x="85" y="64"/>
                    <a:pt x="78" y="63"/>
                    <a:pt x="72" y="63"/>
                  </a:cubicBezTo>
                  <a:cubicBezTo>
                    <a:pt x="71" y="66"/>
                    <a:pt x="71" y="69"/>
                    <a:pt x="71" y="73"/>
                  </a:cubicBezTo>
                  <a:cubicBezTo>
                    <a:pt x="71" y="79"/>
                    <a:pt x="72" y="85"/>
                    <a:pt x="73" y="90"/>
                  </a:cubicBezTo>
                  <a:cubicBezTo>
                    <a:pt x="79" y="91"/>
                    <a:pt x="86" y="92"/>
                    <a:pt x="93" y="92"/>
                  </a:cubicBezTo>
                  <a:cubicBezTo>
                    <a:pt x="93" y="92"/>
                    <a:pt x="93" y="92"/>
                    <a:pt x="93" y="64"/>
                  </a:cubicBezTo>
                  <a:close/>
                  <a:moveTo>
                    <a:pt x="93" y="21"/>
                  </a:moveTo>
                  <a:cubicBezTo>
                    <a:pt x="91" y="21"/>
                    <a:pt x="89" y="22"/>
                    <a:pt x="87" y="23"/>
                  </a:cubicBezTo>
                  <a:cubicBezTo>
                    <a:pt x="81" y="29"/>
                    <a:pt x="75" y="42"/>
                    <a:pt x="72" y="56"/>
                  </a:cubicBezTo>
                  <a:cubicBezTo>
                    <a:pt x="79" y="57"/>
                    <a:pt x="86" y="57"/>
                    <a:pt x="93" y="57"/>
                  </a:cubicBezTo>
                  <a:cubicBezTo>
                    <a:pt x="93" y="57"/>
                    <a:pt x="93" y="57"/>
                    <a:pt x="93" y="21"/>
                  </a:cubicBezTo>
                  <a:close/>
                  <a:moveTo>
                    <a:pt x="146" y="57"/>
                  </a:moveTo>
                  <a:cubicBezTo>
                    <a:pt x="142" y="59"/>
                    <a:pt x="137" y="60"/>
                    <a:pt x="128" y="62"/>
                  </a:cubicBezTo>
                  <a:cubicBezTo>
                    <a:pt x="128" y="66"/>
                    <a:pt x="128" y="69"/>
                    <a:pt x="128" y="73"/>
                  </a:cubicBezTo>
                  <a:cubicBezTo>
                    <a:pt x="128" y="78"/>
                    <a:pt x="128" y="84"/>
                    <a:pt x="127" y="89"/>
                  </a:cubicBezTo>
                  <a:cubicBezTo>
                    <a:pt x="139" y="86"/>
                    <a:pt x="145" y="82"/>
                    <a:pt x="148" y="79"/>
                  </a:cubicBezTo>
                  <a:cubicBezTo>
                    <a:pt x="148" y="77"/>
                    <a:pt x="148" y="75"/>
                    <a:pt x="148" y="72"/>
                  </a:cubicBezTo>
                  <a:cubicBezTo>
                    <a:pt x="148" y="67"/>
                    <a:pt x="147" y="62"/>
                    <a:pt x="146" y="57"/>
                  </a:cubicBezTo>
                  <a:close/>
                  <a:moveTo>
                    <a:pt x="115" y="24"/>
                  </a:moveTo>
                  <a:cubicBezTo>
                    <a:pt x="121" y="32"/>
                    <a:pt x="125" y="42"/>
                    <a:pt x="127" y="55"/>
                  </a:cubicBezTo>
                  <a:cubicBezTo>
                    <a:pt x="138" y="52"/>
                    <a:pt x="141" y="52"/>
                    <a:pt x="143" y="50"/>
                  </a:cubicBezTo>
                  <a:cubicBezTo>
                    <a:pt x="141" y="45"/>
                    <a:pt x="137" y="40"/>
                    <a:pt x="133" y="36"/>
                  </a:cubicBezTo>
                  <a:cubicBezTo>
                    <a:pt x="128" y="30"/>
                    <a:pt x="122" y="27"/>
                    <a:pt x="115" y="24"/>
                  </a:cubicBezTo>
                  <a:close/>
                  <a:moveTo>
                    <a:pt x="100" y="57"/>
                  </a:moveTo>
                  <a:cubicBezTo>
                    <a:pt x="107" y="57"/>
                    <a:pt x="113" y="57"/>
                    <a:pt x="120" y="56"/>
                  </a:cubicBezTo>
                  <a:cubicBezTo>
                    <a:pt x="117" y="38"/>
                    <a:pt x="109" y="24"/>
                    <a:pt x="100" y="21"/>
                  </a:cubicBezTo>
                  <a:cubicBezTo>
                    <a:pt x="100" y="21"/>
                    <a:pt x="100" y="21"/>
                    <a:pt x="100" y="21"/>
                  </a:cubicBezTo>
                  <a:cubicBezTo>
                    <a:pt x="100" y="21"/>
                    <a:pt x="100" y="21"/>
                    <a:pt x="100" y="57"/>
                  </a:cubicBezTo>
                  <a:close/>
                  <a:moveTo>
                    <a:pt x="100" y="92"/>
                  </a:moveTo>
                  <a:cubicBezTo>
                    <a:pt x="107" y="92"/>
                    <a:pt x="113" y="91"/>
                    <a:pt x="120" y="90"/>
                  </a:cubicBezTo>
                  <a:cubicBezTo>
                    <a:pt x="121" y="85"/>
                    <a:pt x="121" y="79"/>
                    <a:pt x="121" y="73"/>
                  </a:cubicBezTo>
                  <a:cubicBezTo>
                    <a:pt x="121" y="69"/>
                    <a:pt x="121" y="66"/>
                    <a:pt x="121" y="63"/>
                  </a:cubicBezTo>
                  <a:cubicBezTo>
                    <a:pt x="114" y="63"/>
                    <a:pt x="107" y="64"/>
                    <a:pt x="100" y="64"/>
                  </a:cubicBezTo>
                  <a:cubicBezTo>
                    <a:pt x="100" y="64"/>
                    <a:pt x="100" y="64"/>
                    <a:pt x="100" y="92"/>
                  </a:cubicBezTo>
                  <a:close/>
                  <a:moveTo>
                    <a:pt x="113" y="111"/>
                  </a:moveTo>
                  <a:cubicBezTo>
                    <a:pt x="115" y="107"/>
                    <a:pt x="117" y="103"/>
                    <a:pt x="118" y="98"/>
                  </a:cubicBezTo>
                  <a:cubicBezTo>
                    <a:pt x="112" y="98"/>
                    <a:pt x="106" y="99"/>
                    <a:pt x="100" y="99"/>
                  </a:cubicBezTo>
                  <a:cubicBezTo>
                    <a:pt x="100" y="99"/>
                    <a:pt x="100" y="99"/>
                    <a:pt x="100" y="124"/>
                  </a:cubicBezTo>
                  <a:cubicBezTo>
                    <a:pt x="105" y="124"/>
                    <a:pt x="110" y="119"/>
                    <a:pt x="113" y="111"/>
                  </a:cubicBezTo>
                  <a:close/>
                  <a:moveTo>
                    <a:pt x="160" y="127"/>
                  </a:moveTo>
                  <a:cubicBezTo>
                    <a:pt x="171" y="123"/>
                    <a:pt x="171" y="123"/>
                    <a:pt x="171" y="123"/>
                  </a:cubicBezTo>
                  <a:cubicBezTo>
                    <a:pt x="130" y="110"/>
                    <a:pt x="130" y="110"/>
                    <a:pt x="130" y="110"/>
                  </a:cubicBezTo>
                  <a:cubicBezTo>
                    <a:pt x="124" y="139"/>
                    <a:pt x="124" y="139"/>
                    <a:pt x="124" y="139"/>
                  </a:cubicBezTo>
                  <a:cubicBezTo>
                    <a:pt x="137" y="135"/>
                    <a:pt x="137" y="135"/>
                    <a:pt x="137" y="135"/>
                  </a:cubicBezTo>
                  <a:cubicBezTo>
                    <a:pt x="140" y="138"/>
                    <a:pt x="148" y="144"/>
                    <a:pt x="155" y="143"/>
                  </a:cubicBezTo>
                  <a:cubicBezTo>
                    <a:pt x="159" y="142"/>
                    <a:pt x="172" y="136"/>
                    <a:pt x="178" y="133"/>
                  </a:cubicBezTo>
                  <a:cubicBezTo>
                    <a:pt x="172" y="135"/>
                    <a:pt x="164" y="129"/>
                    <a:pt x="160" y="127"/>
                  </a:cubicBez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3" name="Group 106"/>
            <p:cNvGrpSpPr/>
            <p:nvPr/>
          </p:nvGrpSpPr>
          <p:grpSpPr>
            <a:xfrm>
              <a:off x="8329512" y="1174360"/>
              <a:ext cx="352519" cy="551474"/>
              <a:chOff x="10976442" y="320026"/>
              <a:chExt cx="352569" cy="551552"/>
            </a:xfrm>
          </p:grpSpPr>
          <p:grpSp>
            <p:nvGrpSpPr>
              <p:cNvPr id="79" name="Group 160"/>
              <p:cNvGrpSpPr/>
              <p:nvPr/>
            </p:nvGrpSpPr>
            <p:grpSpPr>
              <a:xfrm rot="5400000">
                <a:off x="10777119" y="519349"/>
                <a:ext cx="551552" cy="152905"/>
                <a:chOff x="10576225" y="1124579"/>
                <a:chExt cx="607702" cy="168471"/>
              </a:xfrm>
              <a:solidFill>
                <a:schemeClr val="accent6"/>
              </a:solidFill>
            </p:grpSpPr>
            <p:sp>
              <p:nvSpPr>
                <p:cNvPr id="83"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chemeClr val="accent3"/>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84" name="Oval 46"/>
                <p:cNvSpPr>
                  <a:spLocks noChangeArrowheads="1"/>
                </p:cNvSpPr>
                <p:nvPr/>
              </p:nvSpPr>
              <p:spPr bwMode="auto">
                <a:xfrm rot="16200000">
                  <a:off x="11080094" y="1184977"/>
                  <a:ext cx="47676" cy="47676"/>
                </a:xfrm>
                <a:prstGeom prst="ellipse">
                  <a:avLst/>
                </a:prstGeom>
                <a:solidFill>
                  <a:schemeClr val="accent3"/>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grpSp>
            <p:nvGrpSpPr>
              <p:cNvPr id="80" name="Group 161"/>
              <p:cNvGrpSpPr/>
              <p:nvPr/>
            </p:nvGrpSpPr>
            <p:grpSpPr>
              <a:xfrm rot="5400000">
                <a:off x="10976783" y="519349"/>
                <a:ext cx="551552" cy="152905"/>
                <a:chOff x="10576225" y="901588"/>
                <a:chExt cx="607702" cy="168471"/>
              </a:xfrm>
              <a:solidFill>
                <a:schemeClr val="accent4"/>
              </a:solidFill>
            </p:grpSpPr>
            <p:sp>
              <p:nvSpPr>
                <p:cNvPr id="81"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solidFill>
                  <a:schemeClr val="accent1"/>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82" name="Oval 50"/>
                <p:cNvSpPr>
                  <a:spLocks noChangeArrowheads="1"/>
                </p:cNvSpPr>
                <p:nvPr/>
              </p:nvSpPr>
              <p:spPr bwMode="auto">
                <a:xfrm rot="16200000">
                  <a:off x="11080094" y="961987"/>
                  <a:ext cx="47676" cy="47676"/>
                </a:xfrm>
                <a:prstGeom prst="ellipse">
                  <a:avLst/>
                </a:prstGeom>
                <a:solidFill>
                  <a:schemeClr val="accent1"/>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grpSp>
        <p:sp>
          <p:nvSpPr>
            <p:cNvPr id="34" name="Freeform 12"/>
            <p:cNvSpPr>
              <a:spLocks/>
            </p:cNvSpPr>
            <p:nvPr/>
          </p:nvSpPr>
          <p:spPr bwMode="auto">
            <a:xfrm>
              <a:off x="11891168" y="4993994"/>
              <a:ext cx="504028" cy="270463"/>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0336" rIns="80672" bIns="40336" numCol="1" rtlCol="0" anchor="ctr" anchorCtr="0" compatLnSpc="1">
              <a:prstTxWarp prst="textNoShape">
                <a:avLst/>
              </a:prstTxWarp>
            </a:bodyPr>
            <a:lstStyle/>
            <a:p>
              <a:pPr marL="0" marR="0" lvl="0" indent="0" algn="ctr" defTabSz="725589" rtl="0" eaLnBrk="1" fontAlgn="auto" latinLnBrk="1" hangingPunct="1">
                <a:lnSpc>
                  <a:spcPct val="100000"/>
                </a:lnSpc>
                <a:spcBef>
                  <a:spcPts val="0"/>
                </a:spcBef>
                <a:spcAft>
                  <a:spcPts val="0"/>
                </a:spcAft>
                <a:buClrTx/>
                <a:buSzTx/>
                <a:buFontTx/>
                <a:buNone/>
                <a:tabLst/>
                <a:defRPr/>
              </a:pPr>
              <a:endParaRPr kumimoji="0" lang="en-US" sz="1667" b="0" i="0" u="none" strike="noStrike" kern="1200" cap="none" spc="-120" normalizeH="0" baseline="0" noProof="0" dirty="0">
                <a:ln>
                  <a:noFill/>
                </a:ln>
                <a:solidFill>
                  <a:srgbClr val="FFFFFF"/>
                </a:solidFill>
                <a:effectLst/>
                <a:uLnTx/>
                <a:uFillTx/>
                <a:latin typeface="Segoe UI Light" panose="020B0502040204020203" pitchFamily="34" charset="0"/>
                <a:ea typeface="+mn-ea"/>
                <a:cs typeface="+mn-cs"/>
                <a:sym typeface="Segoe UI Light" panose="020B0502040204020203" pitchFamily="34" charset="0"/>
              </a:endParaRPr>
            </a:p>
          </p:txBody>
        </p:sp>
        <p:sp>
          <p:nvSpPr>
            <p:cNvPr id="35" name="Freeform 134"/>
            <p:cNvSpPr>
              <a:spLocks noEditPoints="1"/>
            </p:cNvSpPr>
            <p:nvPr/>
          </p:nvSpPr>
          <p:spPr bwMode="black">
            <a:xfrm>
              <a:off x="9860440" y="3246933"/>
              <a:ext cx="657139" cy="301187"/>
            </a:xfrm>
            <a:custGeom>
              <a:avLst/>
              <a:gdLst>
                <a:gd name="T0" fmla="*/ 77 w 102"/>
                <a:gd name="T1" fmla="*/ 47 h 47"/>
                <a:gd name="T2" fmla="*/ 72 w 102"/>
                <a:gd name="T3" fmla="*/ 47 h 47"/>
                <a:gd name="T4" fmla="*/ 56 w 102"/>
                <a:gd name="T5" fmla="*/ 31 h 47"/>
                <a:gd name="T6" fmla="*/ 55 w 102"/>
                <a:gd name="T7" fmla="*/ 31 h 47"/>
                <a:gd name="T8" fmla="*/ 52 w 102"/>
                <a:gd name="T9" fmla="*/ 25 h 47"/>
                <a:gd name="T10" fmla="*/ 56 w 102"/>
                <a:gd name="T11" fmla="*/ 25 h 47"/>
                <a:gd name="T12" fmla="*/ 77 w 102"/>
                <a:gd name="T13" fmla="*/ 47 h 47"/>
                <a:gd name="T14" fmla="*/ 56 w 102"/>
                <a:gd name="T15" fmla="*/ 0 h 47"/>
                <a:gd name="T16" fmla="*/ 23 w 102"/>
                <a:gd name="T17" fmla="*/ 13 h 47"/>
                <a:gd name="T18" fmla="*/ 28 w 102"/>
                <a:gd name="T19" fmla="*/ 12 h 47"/>
                <a:gd name="T20" fmla="*/ 32 w 102"/>
                <a:gd name="T21" fmla="*/ 13 h 47"/>
                <a:gd name="T22" fmla="*/ 56 w 102"/>
                <a:gd name="T23" fmla="*/ 6 h 47"/>
                <a:gd name="T24" fmla="*/ 97 w 102"/>
                <a:gd name="T25" fmla="*/ 47 h 47"/>
                <a:gd name="T26" fmla="*/ 102 w 102"/>
                <a:gd name="T27" fmla="*/ 47 h 47"/>
                <a:gd name="T28" fmla="*/ 56 w 102"/>
                <a:gd name="T29" fmla="*/ 0 h 47"/>
                <a:gd name="T30" fmla="*/ 56 w 102"/>
                <a:gd name="T31" fmla="*/ 13 h 47"/>
                <a:gd name="T32" fmla="*/ 38 w 102"/>
                <a:gd name="T33" fmla="*/ 17 h 47"/>
                <a:gd name="T34" fmla="*/ 39 w 102"/>
                <a:gd name="T35" fmla="*/ 19 h 47"/>
                <a:gd name="T36" fmla="*/ 39 w 102"/>
                <a:gd name="T37" fmla="*/ 19 h 47"/>
                <a:gd name="T38" fmla="*/ 46 w 102"/>
                <a:gd name="T39" fmla="*/ 20 h 47"/>
                <a:gd name="T40" fmla="*/ 56 w 102"/>
                <a:gd name="T41" fmla="*/ 18 h 47"/>
                <a:gd name="T42" fmla="*/ 84 w 102"/>
                <a:gd name="T43" fmla="*/ 47 h 47"/>
                <a:gd name="T44" fmla="*/ 90 w 102"/>
                <a:gd name="T45" fmla="*/ 47 h 47"/>
                <a:gd name="T46" fmla="*/ 56 w 102"/>
                <a:gd name="T47" fmla="*/ 13 h 47"/>
                <a:gd name="T48" fmla="*/ 0 w 102"/>
                <a:gd name="T49" fmla="*/ 39 h 47"/>
                <a:gd name="T50" fmla="*/ 8 w 102"/>
                <a:gd name="T51" fmla="*/ 46 h 47"/>
                <a:gd name="T52" fmla="*/ 9 w 102"/>
                <a:gd name="T53" fmla="*/ 46 h 47"/>
                <a:gd name="T54" fmla="*/ 41 w 102"/>
                <a:gd name="T55" fmla="*/ 46 h 47"/>
                <a:gd name="T56" fmla="*/ 51 w 102"/>
                <a:gd name="T57" fmla="*/ 35 h 47"/>
                <a:gd name="T58" fmla="*/ 39 w 102"/>
                <a:gd name="T59" fmla="*/ 24 h 47"/>
                <a:gd name="T60" fmla="*/ 36 w 102"/>
                <a:gd name="T61" fmla="*/ 24 h 47"/>
                <a:gd name="T62" fmla="*/ 28 w 102"/>
                <a:gd name="T63" fmla="*/ 17 h 47"/>
                <a:gd name="T64" fmla="*/ 18 w 102"/>
                <a:gd name="T65" fmla="*/ 26 h 47"/>
                <a:gd name="T66" fmla="*/ 18 w 102"/>
                <a:gd name="T67" fmla="*/ 28 h 47"/>
                <a:gd name="T68" fmla="*/ 15 w 102"/>
                <a:gd name="T69" fmla="*/ 27 h 47"/>
                <a:gd name="T70" fmla="*/ 9 w 102"/>
                <a:gd name="T71" fmla="*/ 31 h 47"/>
                <a:gd name="T72" fmla="*/ 8 w 102"/>
                <a:gd name="T73" fmla="*/ 31 h 47"/>
                <a:gd name="T74" fmla="*/ 0 w 102"/>
                <a:gd name="T7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47">
                  <a:moveTo>
                    <a:pt x="77" y="47"/>
                  </a:moveTo>
                  <a:cubicBezTo>
                    <a:pt x="72" y="47"/>
                    <a:pt x="72" y="47"/>
                    <a:pt x="72" y="47"/>
                  </a:cubicBezTo>
                  <a:cubicBezTo>
                    <a:pt x="72" y="38"/>
                    <a:pt x="64" y="31"/>
                    <a:pt x="56" y="31"/>
                  </a:cubicBezTo>
                  <a:cubicBezTo>
                    <a:pt x="55" y="31"/>
                    <a:pt x="55" y="31"/>
                    <a:pt x="55" y="31"/>
                  </a:cubicBezTo>
                  <a:cubicBezTo>
                    <a:pt x="54" y="29"/>
                    <a:pt x="53" y="27"/>
                    <a:pt x="52" y="25"/>
                  </a:cubicBezTo>
                  <a:cubicBezTo>
                    <a:pt x="53" y="25"/>
                    <a:pt x="54" y="25"/>
                    <a:pt x="56" y="25"/>
                  </a:cubicBezTo>
                  <a:cubicBezTo>
                    <a:pt x="68" y="25"/>
                    <a:pt x="77" y="35"/>
                    <a:pt x="77" y="47"/>
                  </a:cubicBezTo>
                  <a:close/>
                  <a:moveTo>
                    <a:pt x="56" y="0"/>
                  </a:moveTo>
                  <a:cubicBezTo>
                    <a:pt x="43" y="0"/>
                    <a:pt x="32" y="5"/>
                    <a:pt x="23" y="13"/>
                  </a:cubicBezTo>
                  <a:cubicBezTo>
                    <a:pt x="25" y="13"/>
                    <a:pt x="26" y="12"/>
                    <a:pt x="28" y="12"/>
                  </a:cubicBezTo>
                  <a:cubicBezTo>
                    <a:pt x="29" y="12"/>
                    <a:pt x="31" y="13"/>
                    <a:pt x="32" y="13"/>
                  </a:cubicBezTo>
                  <a:cubicBezTo>
                    <a:pt x="39" y="9"/>
                    <a:pt x="47" y="6"/>
                    <a:pt x="56" y="6"/>
                  </a:cubicBezTo>
                  <a:cubicBezTo>
                    <a:pt x="78" y="6"/>
                    <a:pt x="97" y="24"/>
                    <a:pt x="97" y="47"/>
                  </a:cubicBezTo>
                  <a:cubicBezTo>
                    <a:pt x="102" y="47"/>
                    <a:pt x="102" y="47"/>
                    <a:pt x="102" y="47"/>
                  </a:cubicBezTo>
                  <a:cubicBezTo>
                    <a:pt x="102" y="21"/>
                    <a:pt x="81" y="0"/>
                    <a:pt x="56" y="0"/>
                  </a:cubicBezTo>
                  <a:close/>
                  <a:moveTo>
                    <a:pt x="56" y="13"/>
                  </a:moveTo>
                  <a:cubicBezTo>
                    <a:pt x="49" y="13"/>
                    <a:pt x="43" y="14"/>
                    <a:pt x="38" y="17"/>
                  </a:cubicBezTo>
                  <a:cubicBezTo>
                    <a:pt x="39" y="18"/>
                    <a:pt x="39" y="18"/>
                    <a:pt x="39" y="19"/>
                  </a:cubicBezTo>
                  <a:cubicBezTo>
                    <a:pt x="39" y="19"/>
                    <a:pt x="39" y="19"/>
                    <a:pt x="39" y="19"/>
                  </a:cubicBezTo>
                  <a:cubicBezTo>
                    <a:pt x="42" y="19"/>
                    <a:pt x="44" y="19"/>
                    <a:pt x="46" y="20"/>
                  </a:cubicBezTo>
                  <a:cubicBezTo>
                    <a:pt x="49" y="19"/>
                    <a:pt x="52" y="18"/>
                    <a:pt x="56" y="18"/>
                  </a:cubicBezTo>
                  <a:cubicBezTo>
                    <a:pt x="71" y="18"/>
                    <a:pt x="84" y="31"/>
                    <a:pt x="84" y="47"/>
                  </a:cubicBezTo>
                  <a:cubicBezTo>
                    <a:pt x="90" y="47"/>
                    <a:pt x="90" y="47"/>
                    <a:pt x="90" y="47"/>
                  </a:cubicBezTo>
                  <a:cubicBezTo>
                    <a:pt x="90" y="28"/>
                    <a:pt x="75" y="13"/>
                    <a:pt x="56" y="13"/>
                  </a:cubicBezTo>
                  <a:close/>
                  <a:moveTo>
                    <a:pt x="0" y="39"/>
                  </a:moveTo>
                  <a:cubicBezTo>
                    <a:pt x="0" y="43"/>
                    <a:pt x="3" y="46"/>
                    <a:pt x="8" y="46"/>
                  </a:cubicBezTo>
                  <a:cubicBezTo>
                    <a:pt x="9" y="46"/>
                    <a:pt x="9" y="46"/>
                    <a:pt x="9" y="46"/>
                  </a:cubicBezTo>
                  <a:cubicBezTo>
                    <a:pt x="41" y="46"/>
                    <a:pt x="41" y="46"/>
                    <a:pt x="41" y="46"/>
                  </a:cubicBezTo>
                  <a:cubicBezTo>
                    <a:pt x="46" y="46"/>
                    <a:pt x="51" y="41"/>
                    <a:pt x="51" y="35"/>
                  </a:cubicBezTo>
                  <a:cubicBezTo>
                    <a:pt x="51" y="29"/>
                    <a:pt x="46" y="24"/>
                    <a:pt x="39" y="24"/>
                  </a:cubicBezTo>
                  <a:cubicBezTo>
                    <a:pt x="38" y="24"/>
                    <a:pt x="37" y="24"/>
                    <a:pt x="36" y="24"/>
                  </a:cubicBezTo>
                  <a:cubicBezTo>
                    <a:pt x="35" y="20"/>
                    <a:pt x="32" y="17"/>
                    <a:pt x="28" y="17"/>
                  </a:cubicBezTo>
                  <a:cubicBezTo>
                    <a:pt x="22" y="17"/>
                    <a:pt x="18" y="21"/>
                    <a:pt x="18" y="26"/>
                  </a:cubicBezTo>
                  <a:cubicBezTo>
                    <a:pt x="18" y="27"/>
                    <a:pt x="18" y="27"/>
                    <a:pt x="18" y="28"/>
                  </a:cubicBezTo>
                  <a:cubicBezTo>
                    <a:pt x="17" y="27"/>
                    <a:pt x="16" y="27"/>
                    <a:pt x="15" y="27"/>
                  </a:cubicBezTo>
                  <a:cubicBezTo>
                    <a:pt x="13" y="27"/>
                    <a:pt x="10" y="29"/>
                    <a:pt x="9" y="31"/>
                  </a:cubicBezTo>
                  <a:cubicBezTo>
                    <a:pt x="9" y="31"/>
                    <a:pt x="8" y="31"/>
                    <a:pt x="8" y="31"/>
                  </a:cubicBezTo>
                  <a:cubicBezTo>
                    <a:pt x="3" y="31"/>
                    <a:pt x="0" y="34"/>
                    <a:pt x="0" y="39"/>
                  </a:cubicBezTo>
                  <a:close/>
                </a:path>
              </a:pathLst>
            </a:custGeom>
            <a:solidFill>
              <a:srgbClr val="00BCF2"/>
            </a:solidFill>
            <a:ln>
              <a:no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534"/>
            <p:cNvSpPr>
              <a:spLocks noEditPoints="1"/>
            </p:cNvSpPr>
            <p:nvPr/>
          </p:nvSpPr>
          <p:spPr bwMode="auto">
            <a:xfrm>
              <a:off x="9111363" y="1045267"/>
              <a:ext cx="743114" cy="737989"/>
            </a:xfrm>
            <a:custGeom>
              <a:avLst/>
              <a:gdLst>
                <a:gd name="T0" fmla="*/ 143 w 290"/>
                <a:gd name="T1" fmla="*/ 130 h 289"/>
                <a:gd name="T2" fmla="*/ 152 w 290"/>
                <a:gd name="T3" fmla="*/ 80 h 289"/>
                <a:gd name="T4" fmla="*/ 152 w 290"/>
                <a:gd name="T5" fmla="*/ 82 h 289"/>
                <a:gd name="T6" fmla="*/ 191 w 290"/>
                <a:gd name="T7" fmla="*/ 62 h 289"/>
                <a:gd name="T8" fmla="*/ 205 w 290"/>
                <a:gd name="T9" fmla="*/ 116 h 289"/>
                <a:gd name="T10" fmla="*/ 162 w 290"/>
                <a:gd name="T11" fmla="*/ 80 h 289"/>
                <a:gd name="T12" fmla="*/ 152 w 290"/>
                <a:gd name="T13" fmla="*/ 80 h 289"/>
                <a:gd name="T14" fmla="*/ 168 w 290"/>
                <a:gd name="T15" fmla="*/ 80 h 289"/>
                <a:gd name="T16" fmla="*/ 180 w 290"/>
                <a:gd name="T17" fmla="*/ 89 h 289"/>
                <a:gd name="T18" fmla="*/ 183 w 290"/>
                <a:gd name="T19" fmla="*/ 85 h 289"/>
                <a:gd name="T20" fmla="*/ 181 w 290"/>
                <a:gd name="T21" fmla="*/ 87 h 289"/>
                <a:gd name="T22" fmla="*/ 166 w 290"/>
                <a:gd name="T23" fmla="*/ 84 h 289"/>
                <a:gd name="T24" fmla="*/ 183 w 290"/>
                <a:gd name="T25" fmla="*/ 85 h 289"/>
                <a:gd name="T26" fmla="*/ 181 w 290"/>
                <a:gd name="T27" fmla="*/ 87 h 289"/>
                <a:gd name="T28" fmla="*/ 85 w 290"/>
                <a:gd name="T29" fmla="*/ 169 h 289"/>
                <a:gd name="T30" fmla="*/ 137 w 290"/>
                <a:gd name="T31" fmla="*/ 155 h 289"/>
                <a:gd name="T32" fmla="*/ 98 w 290"/>
                <a:gd name="T33" fmla="*/ 130 h 289"/>
                <a:gd name="T34" fmla="*/ 50 w 290"/>
                <a:gd name="T35" fmla="*/ 145 h 289"/>
                <a:gd name="T36" fmla="*/ 83 w 290"/>
                <a:gd name="T37" fmla="*/ 169 h 289"/>
                <a:gd name="T38" fmla="*/ 85 w 290"/>
                <a:gd name="T39" fmla="*/ 169 h 289"/>
                <a:gd name="T40" fmla="*/ 85 w 290"/>
                <a:gd name="T41" fmla="*/ 169 h 289"/>
                <a:gd name="T42" fmla="*/ 75 w 290"/>
                <a:gd name="T43" fmla="*/ 140 h 289"/>
                <a:gd name="T44" fmla="*/ 77 w 290"/>
                <a:gd name="T45" fmla="*/ 155 h 289"/>
                <a:gd name="T46" fmla="*/ 77 w 290"/>
                <a:gd name="T47" fmla="*/ 142 h 289"/>
                <a:gd name="T48" fmla="*/ 79 w 290"/>
                <a:gd name="T49" fmla="*/ 140 h 289"/>
                <a:gd name="T50" fmla="*/ 75 w 290"/>
                <a:gd name="T51" fmla="*/ 140 h 289"/>
                <a:gd name="T52" fmla="*/ 77 w 290"/>
                <a:gd name="T53" fmla="*/ 142 h 289"/>
                <a:gd name="T54" fmla="*/ 156 w 290"/>
                <a:gd name="T55" fmla="*/ 149 h 289"/>
                <a:gd name="T56" fmla="*/ 195 w 290"/>
                <a:gd name="T57" fmla="*/ 184 h 289"/>
                <a:gd name="T58" fmla="*/ 156 w 290"/>
                <a:gd name="T59" fmla="*/ 149 h 289"/>
                <a:gd name="T60" fmla="*/ 197 w 290"/>
                <a:gd name="T61" fmla="*/ 184 h 289"/>
                <a:gd name="T62" fmla="*/ 154 w 290"/>
                <a:gd name="T63" fmla="*/ 190 h 289"/>
                <a:gd name="T64" fmla="*/ 191 w 290"/>
                <a:gd name="T65" fmla="*/ 225 h 289"/>
                <a:gd name="T66" fmla="*/ 195 w 290"/>
                <a:gd name="T67" fmla="*/ 182 h 289"/>
                <a:gd name="T68" fmla="*/ 195 w 290"/>
                <a:gd name="T69" fmla="*/ 182 h 289"/>
                <a:gd name="T70" fmla="*/ 174 w 290"/>
                <a:gd name="T71" fmla="*/ 207 h 289"/>
                <a:gd name="T72" fmla="*/ 174 w 290"/>
                <a:gd name="T73" fmla="*/ 203 h 289"/>
                <a:gd name="T74" fmla="*/ 178 w 290"/>
                <a:gd name="T75" fmla="*/ 207 h 289"/>
                <a:gd name="T76" fmla="*/ 178 w 290"/>
                <a:gd name="T77" fmla="*/ 207 h 289"/>
                <a:gd name="T78" fmla="*/ 176 w 290"/>
                <a:gd name="T79" fmla="*/ 203 h 289"/>
                <a:gd name="T80" fmla="*/ 174 w 290"/>
                <a:gd name="T81" fmla="*/ 205 h 289"/>
                <a:gd name="T82" fmla="*/ 137 w 290"/>
                <a:gd name="T83" fmla="*/ 149 h 289"/>
                <a:gd name="T84" fmla="*/ 143 w 290"/>
                <a:gd name="T85" fmla="*/ 136 h 289"/>
                <a:gd name="T86" fmla="*/ 154 w 290"/>
                <a:gd name="T87" fmla="*/ 147 h 289"/>
                <a:gd name="T88" fmla="*/ 139 w 290"/>
                <a:gd name="T89" fmla="*/ 134 h 289"/>
                <a:gd name="T90" fmla="*/ 135 w 290"/>
                <a:gd name="T91" fmla="*/ 151 h 289"/>
                <a:gd name="T92" fmla="*/ 158 w 290"/>
                <a:gd name="T93" fmla="*/ 145 h 289"/>
                <a:gd name="T94" fmla="*/ 143 w 290"/>
                <a:gd name="T95" fmla="*/ 130 h 289"/>
                <a:gd name="T96" fmla="*/ 156 w 290"/>
                <a:gd name="T97" fmla="*/ 149 h 289"/>
                <a:gd name="T98" fmla="*/ 96 w 290"/>
                <a:gd name="T99" fmla="*/ 262 h 289"/>
                <a:gd name="T100" fmla="*/ 19 w 290"/>
                <a:gd name="T101" fmla="*/ 145 h 289"/>
                <a:gd name="T102" fmla="*/ 108 w 290"/>
                <a:gd name="T103" fmla="*/ 24 h 289"/>
                <a:gd name="T104" fmla="*/ 241 w 290"/>
                <a:gd name="T105" fmla="*/ 64 h 289"/>
                <a:gd name="T106" fmla="*/ 257 w 290"/>
                <a:gd name="T107" fmla="*/ 205 h 289"/>
                <a:gd name="T108" fmla="*/ 145 w 290"/>
                <a:gd name="T109" fmla="*/ 289 h 289"/>
                <a:gd name="T110" fmla="*/ 284 w 290"/>
                <a:gd name="T111" fmla="*/ 188 h 289"/>
                <a:gd name="T112" fmla="*/ 238 w 290"/>
                <a:gd name="T113" fmla="*/ 33 h 289"/>
                <a:gd name="T114" fmla="*/ 75 w 290"/>
                <a:gd name="T115" fmla="*/ 18 h 289"/>
                <a:gd name="T116" fmla="*/ 2 w 290"/>
                <a:gd name="T117" fmla="*/ 159 h 289"/>
                <a:gd name="T118" fmla="*/ 116 w 290"/>
                <a:gd name="T119" fmla="*/ 2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 h="289">
                  <a:moveTo>
                    <a:pt x="152" y="80"/>
                  </a:moveTo>
                  <a:lnTo>
                    <a:pt x="152" y="82"/>
                  </a:lnTo>
                  <a:lnTo>
                    <a:pt x="152" y="82"/>
                  </a:lnTo>
                  <a:lnTo>
                    <a:pt x="143" y="82"/>
                  </a:lnTo>
                  <a:lnTo>
                    <a:pt x="133" y="85"/>
                  </a:lnTo>
                  <a:lnTo>
                    <a:pt x="127" y="91"/>
                  </a:lnTo>
                  <a:lnTo>
                    <a:pt x="123" y="101"/>
                  </a:lnTo>
                  <a:lnTo>
                    <a:pt x="123" y="101"/>
                  </a:lnTo>
                  <a:lnTo>
                    <a:pt x="123" y="111"/>
                  </a:lnTo>
                  <a:lnTo>
                    <a:pt x="127" y="120"/>
                  </a:lnTo>
                  <a:lnTo>
                    <a:pt x="127" y="120"/>
                  </a:lnTo>
                  <a:lnTo>
                    <a:pt x="133" y="126"/>
                  </a:lnTo>
                  <a:lnTo>
                    <a:pt x="143" y="130"/>
                  </a:lnTo>
                  <a:lnTo>
                    <a:pt x="143" y="130"/>
                  </a:lnTo>
                  <a:lnTo>
                    <a:pt x="139" y="132"/>
                  </a:lnTo>
                  <a:lnTo>
                    <a:pt x="139" y="132"/>
                  </a:lnTo>
                  <a:lnTo>
                    <a:pt x="129" y="126"/>
                  </a:lnTo>
                  <a:lnTo>
                    <a:pt x="123" y="120"/>
                  </a:lnTo>
                  <a:lnTo>
                    <a:pt x="121" y="111"/>
                  </a:lnTo>
                  <a:lnTo>
                    <a:pt x="121" y="101"/>
                  </a:lnTo>
                  <a:lnTo>
                    <a:pt x="121" y="101"/>
                  </a:lnTo>
                  <a:lnTo>
                    <a:pt x="125" y="91"/>
                  </a:lnTo>
                  <a:lnTo>
                    <a:pt x="133" y="84"/>
                  </a:lnTo>
                  <a:lnTo>
                    <a:pt x="143" y="78"/>
                  </a:lnTo>
                  <a:lnTo>
                    <a:pt x="152" y="78"/>
                  </a:lnTo>
                  <a:lnTo>
                    <a:pt x="152" y="80"/>
                  </a:lnTo>
                  <a:close/>
                  <a:moveTo>
                    <a:pt x="143" y="134"/>
                  </a:moveTo>
                  <a:lnTo>
                    <a:pt x="143" y="134"/>
                  </a:lnTo>
                  <a:lnTo>
                    <a:pt x="143" y="134"/>
                  </a:lnTo>
                  <a:lnTo>
                    <a:pt x="143" y="134"/>
                  </a:lnTo>
                  <a:lnTo>
                    <a:pt x="143" y="134"/>
                  </a:lnTo>
                  <a:lnTo>
                    <a:pt x="143" y="134"/>
                  </a:lnTo>
                  <a:close/>
                  <a:moveTo>
                    <a:pt x="166" y="87"/>
                  </a:moveTo>
                  <a:lnTo>
                    <a:pt x="166" y="87"/>
                  </a:lnTo>
                  <a:lnTo>
                    <a:pt x="162" y="85"/>
                  </a:lnTo>
                  <a:lnTo>
                    <a:pt x="160" y="82"/>
                  </a:lnTo>
                  <a:lnTo>
                    <a:pt x="152" y="80"/>
                  </a:lnTo>
                  <a:lnTo>
                    <a:pt x="152" y="82"/>
                  </a:lnTo>
                  <a:lnTo>
                    <a:pt x="152" y="82"/>
                  </a:lnTo>
                  <a:lnTo>
                    <a:pt x="152" y="82"/>
                  </a:lnTo>
                  <a:lnTo>
                    <a:pt x="152" y="82"/>
                  </a:lnTo>
                  <a:lnTo>
                    <a:pt x="152" y="82"/>
                  </a:lnTo>
                  <a:lnTo>
                    <a:pt x="152" y="91"/>
                  </a:lnTo>
                  <a:lnTo>
                    <a:pt x="154" y="99"/>
                  </a:lnTo>
                  <a:lnTo>
                    <a:pt x="162" y="105"/>
                  </a:lnTo>
                  <a:lnTo>
                    <a:pt x="170" y="109"/>
                  </a:lnTo>
                  <a:lnTo>
                    <a:pt x="178" y="111"/>
                  </a:lnTo>
                  <a:lnTo>
                    <a:pt x="178" y="111"/>
                  </a:lnTo>
                  <a:lnTo>
                    <a:pt x="180" y="91"/>
                  </a:lnTo>
                  <a:lnTo>
                    <a:pt x="166" y="87"/>
                  </a:lnTo>
                  <a:close/>
                  <a:moveTo>
                    <a:pt x="216" y="68"/>
                  </a:moveTo>
                  <a:lnTo>
                    <a:pt x="191" y="62"/>
                  </a:lnTo>
                  <a:lnTo>
                    <a:pt x="191" y="62"/>
                  </a:lnTo>
                  <a:lnTo>
                    <a:pt x="185" y="82"/>
                  </a:lnTo>
                  <a:lnTo>
                    <a:pt x="185" y="82"/>
                  </a:lnTo>
                  <a:lnTo>
                    <a:pt x="185" y="82"/>
                  </a:lnTo>
                  <a:lnTo>
                    <a:pt x="187" y="84"/>
                  </a:lnTo>
                  <a:lnTo>
                    <a:pt x="189" y="87"/>
                  </a:lnTo>
                  <a:lnTo>
                    <a:pt x="189" y="87"/>
                  </a:lnTo>
                  <a:lnTo>
                    <a:pt x="185" y="91"/>
                  </a:lnTo>
                  <a:lnTo>
                    <a:pt x="181" y="91"/>
                  </a:lnTo>
                  <a:lnTo>
                    <a:pt x="181" y="91"/>
                  </a:lnTo>
                  <a:lnTo>
                    <a:pt x="181" y="91"/>
                  </a:lnTo>
                  <a:lnTo>
                    <a:pt x="180" y="111"/>
                  </a:lnTo>
                  <a:lnTo>
                    <a:pt x="205" y="116"/>
                  </a:lnTo>
                  <a:lnTo>
                    <a:pt x="205" y="116"/>
                  </a:lnTo>
                  <a:lnTo>
                    <a:pt x="214" y="118"/>
                  </a:lnTo>
                  <a:lnTo>
                    <a:pt x="222" y="114"/>
                  </a:lnTo>
                  <a:lnTo>
                    <a:pt x="228" y="109"/>
                  </a:lnTo>
                  <a:lnTo>
                    <a:pt x="232" y="99"/>
                  </a:lnTo>
                  <a:lnTo>
                    <a:pt x="234" y="97"/>
                  </a:lnTo>
                  <a:lnTo>
                    <a:pt x="234" y="97"/>
                  </a:lnTo>
                  <a:lnTo>
                    <a:pt x="234" y="87"/>
                  </a:lnTo>
                  <a:lnTo>
                    <a:pt x="230" y="80"/>
                  </a:lnTo>
                  <a:lnTo>
                    <a:pt x="224" y="72"/>
                  </a:lnTo>
                  <a:lnTo>
                    <a:pt x="216" y="68"/>
                  </a:lnTo>
                  <a:close/>
                  <a:moveTo>
                    <a:pt x="152" y="78"/>
                  </a:moveTo>
                  <a:lnTo>
                    <a:pt x="162" y="80"/>
                  </a:lnTo>
                  <a:lnTo>
                    <a:pt x="162" y="80"/>
                  </a:lnTo>
                  <a:lnTo>
                    <a:pt x="164" y="78"/>
                  </a:lnTo>
                  <a:lnTo>
                    <a:pt x="168" y="78"/>
                  </a:lnTo>
                  <a:lnTo>
                    <a:pt x="183" y="82"/>
                  </a:lnTo>
                  <a:lnTo>
                    <a:pt x="183" y="82"/>
                  </a:lnTo>
                  <a:lnTo>
                    <a:pt x="189" y="62"/>
                  </a:lnTo>
                  <a:lnTo>
                    <a:pt x="181" y="60"/>
                  </a:lnTo>
                  <a:lnTo>
                    <a:pt x="181" y="60"/>
                  </a:lnTo>
                  <a:lnTo>
                    <a:pt x="172" y="60"/>
                  </a:lnTo>
                  <a:lnTo>
                    <a:pt x="164" y="64"/>
                  </a:lnTo>
                  <a:lnTo>
                    <a:pt x="156" y="70"/>
                  </a:lnTo>
                  <a:lnTo>
                    <a:pt x="152" y="78"/>
                  </a:lnTo>
                  <a:lnTo>
                    <a:pt x="152" y="80"/>
                  </a:lnTo>
                  <a:lnTo>
                    <a:pt x="152" y="80"/>
                  </a:lnTo>
                  <a:lnTo>
                    <a:pt x="152" y="78"/>
                  </a:lnTo>
                  <a:close/>
                  <a:moveTo>
                    <a:pt x="152" y="80"/>
                  </a:moveTo>
                  <a:lnTo>
                    <a:pt x="152" y="80"/>
                  </a:lnTo>
                  <a:lnTo>
                    <a:pt x="152" y="80"/>
                  </a:lnTo>
                  <a:lnTo>
                    <a:pt x="152" y="80"/>
                  </a:lnTo>
                  <a:lnTo>
                    <a:pt x="152" y="82"/>
                  </a:lnTo>
                  <a:lnTo>
                    <a:pt x="152" y="82"/>
                  </a:lnTo>
                  <a:lnTo>
                    <a:pt x="152" y="82"/>
                  </a:lnTo>
                  <a:lnTo>
                    <a:pt x="152" y="80"/>
                  </a:lnTo>
                  <a:close/>
                  <a:moveTo>
                    <a:pt x="170" y="80"/>
                  </a:moveTo>
                  <a:lnTo>
                    <a:pt x="170" y="80"/>
                  </a:lnTo>
                  <a:lnTo>
                    <a:pt x="168" y="80"/>
                  </a:lnTo>
                  <a:lnTo>
                    <a:pt x="166" y="82"/>
                  </a:lnTo>
                  <a:lnTo>
                    <a:pt x="181" y="85"/>
                  </a:lnTo>
                  <a:lnTo>
                    <a:pt x="181" y="85"/>
                  </a:lnTo>
                  <a:lnTo>
                    <a:pt x="181" y="84"/>
                  </a:lnTo>
                  <a:lnTo>
                    <a:pt x="181" y="84"/>
                  </a:lnTo>
                  <a:lnTo>
                    <a:pt x="181" y="84"/>
                  </a:lnTo>
                  <a:lnTo>
                    <a:pt x="170" y="80"/>
                  </a:lnTo>
                  <a:close/>
                  <a:moveTo>
                    <a:pt x="166" y="84"/>
                  </a:moveTo>
                  <a:lnTo>
                    <a:pt x="166" y="84"/>
                  </a:lnTo>
                  <a:lnTo>
                    <a:pt x="168" y="85"/>
                  </a:lnTo>
                  <a:lnTo>
                    <a:pt x="170" y="87"/>
                  </a:lnTo>
                  <a:lnTo>
                    <a:pt x="180" y="89"/>
                  </a:lnTo>
                  <a:lnTo>
                    <a:pt x="180" y="89"/>
                  </a:lnTo>
                  <a:lnTo>
                    <a:pt x="181" y="89"/>
                  </a:lnTo>
                  <a:lnTo>
                    <a:pt x="181" y="89"/>
                  </a:lnTo>
                  <a:lnTo>
                    <a:pt x="181" y="87"/>
                  </a:lnTo>
                  <a:lnTo>
                    <a:pt x="166" y="84"/>
                  </a:lnTo>
                  <a:close/>
                  <a:moveTo>
                    <a:pt x="183" y="89"/>
                  </a:moveTo>
                  <a:lnTo>
                    <a:pt x="183" y="89"/>
                  </a:lnTo>
                  <a:lnTo>
                    <a:pt x="183" y="87"/>
                  </a:lnTo>
                  <a:lnTo>
                    <a:pt x="183" y="87"/>
                  </a:lnTo>
                  <a:lnTo>
                    <a:pt x="183" y="87"/>
                  </a:lnTo>
                  <a:lnTo>
                    <a:pt x="183" y="89"/>
                  </a:lnTo>
                  <a:close/>
                  <a:moveTo>
                    <a:pt x="183" y="85"/>
                  </a:moveTo>
                  <a:lnTo>
                    <a:pt x="183" y="85"/>
                  </a:lnTo>
                  <a:lnTo>
                    <a:pt x="183" y="85"/>
                  </a:lnTo>
                  <a:lnTo>
                    <a:pt x="183" y="85"/>
                  </a:lnTo>
                  <a:lnTo>
                    <a:pt x="183" y="85"/>
                  </a:lnTo>
                  <a:lnTo>
                    <a:pt x="183" y="85"/>
                  </a:lnTo>
                  <a:close/>
                  <a:moveTo>
                    <a:pt x="183" y="85"/>
                  </a:moveTo>
                  <a:lnTo>
                    <a:pt x="183" y="85"/>
                  </a:lnTo>
                  <a:lnTo>
                    <a:pt x="183" y="85"/>
                  </a:lnTo>
                  <a:lnTo>
                    <a:pt x="183" y="85"/>
                  </a:lnTo>
                  <a:lnTo>
                    <a:pt x="181" y="84"/>
                  </a:lnTo>
                  <a:lnTo>
                    <a:pt x="181" y="84"/>
                  </a:lnTo>
                  <a:lnTo>
                    <a:pt x="181" y="85"/>
                  </a:lnTo>
                  <a:lnTo>
                    <a:pt x="183" y="85"/>
                  </a:lnTo>
                  <a:close/>
                  <a:moveTo>
                    <a:pt x="181" y="87"/>
                  </a:moveTo>
                  <a:lnTo>
                    <a:pt x="181" y="87"/>
                  </a:lnTo>
                  <a:lnTo>
                    <a:pt x="181" y="89"/>
                  </a:lnTo>
                  <a:lnTo>
                    <a:pt x="181" y="89"/>
                  </a:lnTo>
                  <a:lnTo>
                    <a:pt x="183" y="89"/>
                  </a:lnTo>
                  <a:lnTo>
                    <a:pt x="183" y="89"/>
                  </a:lnTo>
                  <a:lnTo>
                    <a:pt x="183" y="87"/>
                  </a:lnTo>
                  <a:lnTo>
                    <a:pt x="181" y="87"/>
                  </a:lnTo>
                  <a:close/>
                  <a:moveTo>
                    <a:pt x="181" y="85"/>
                  </a:moveTo>
                  <a:lnTo>
                    <a:pt x="181" y="85"/>
                  </a:lnTo>
                  <a:lnTo>
                    <a:pt x="181" y="85"/>
                  </a:lnTo>
                  <a:lnTo>
                    <a:pt x="166" y="82"/>
                  </a:lnTo>
                  <a:lnTo>
                    <a:pt x="166" y="82"/>
                  </a:lnTo>
                  <a:lnTo>
                    <a:pt x="166" y="84"/>
                  </a:lnTo>
                  <a:lnTo>
                    <a:pt x="166" y="84"/>
                  </a:lnTo>
                  <a:lnTo>
                    <a:pt x="166" y="84"/>
                  </a:lnTo>
                  <a:lnTo>
                    <a:pt x="181" y="87"/>
                  </a:lnTo>
                  <a:lnTo>
                    <a:pt x="181" y="87"/>
                  </a:lnTo>
                  <a:lnTo>
                    <a:pt x="181" y="85"/>
                  </a:lnTo>
                  <a:close/>
                  <a:moveTo>
                    <a:pt x="183" y="87"/>
                  </a:moveTo>
                  <a:lnTo>
                    <a:pt x="183" y="87"/>
                  </a:lnTo>
                  <a:lnTo>
                    <a:pt x="183" y="87"/>
                  </a:lnTo>
                  <a:lnTo>
                    <a:pt x="183" y="87"/>
                  </a:lnTo>
                  <a:lnTo>
                    <a:pt x="183" y="87"/>
                  </a:lnTo>
                  <a:lnTo>
                    <a:pt x="183" y="87"/>
                  </a:lnTo>
                  <a:lnTo>
                    <a:pt x="183" y="87"/>
                  </a:lnTo>
                  <a:lnTo>
                    <a:pt x="183" y="85"/>
                  </a:lnTo>
                  <a:lnTo>
                    <a:pt x="183" y="85"/>
                  </a:lnTo>
                  <a:lnTo>
                    <a:pt x="183" y="85"/>
                  </a:lnTo>
                  <a:lnTo>
                    <a:pt x="183" y="87"/>
                  </a:lnTo>
                  <a:close/>
                  <a:moveTo>
                    <a:pt x="181" y="87"/>
                  </a:moveTo>
                  <a:lnTo>
                    <a:pt x="183" y="87"/>
                  </a:lnTo>
                  <a:lnTo>
                    <a:pt x="183" y="87"/>
                  </a:lnTo>
                  <a:lnTo>
                    <a:pt x="183" y="87"/>
                  </a:lnTo>
                  <a:lnTo>
                    <a:pt x="183" y="87"/>
                  </a:lnTo>
                  <a:lnTo>
                    <a:pt x="183" y="85"/>
                  </a:lnTo>
                  <a:lnTo>
                    <a:pt x="181" y="85"/>
                  </a:lnTo>
                  <a:lnTo>
                    <a:pt x="181" y="85"/>
                  </a:lnTo>
                  <a:lnTo>
                    <a:pt x="181" y="85"/>
                  </a:lnTo>
                  <a:lnTo>
                    <a:pt x="181" y="85"/>
                  </a:lnTo>
                  <a:lnTo>
                    <a:pt x="181" y="87"/>
                  </a:lnTo>
                  <a:close/>
                  <a:moveTo>
                    <a:pt x="133" y="151"/>
                  </a:moveTo>
                  <a:lnTo>
                    <a:pt x="133" y="151"/>
                  </a:lnTo>
                  <a:lnTo>
                    <a:pt x="135" y="161"/>
                  </a:lnTo>
                  <a:lnTo>
                    <a:pt x="131" y="171"/>
                  </a:lnTo>
                  <a:lnTo>
                    <a:pt x="125" y="178"/>
                  </a:lnTo>
                  <a:lnTo>
                    <a:pt x="118" y="184"/>
                  </a:lnTo>
                  <a:lnTo>
                    <a:pt x="118" y="184"/>
                  </a:lnTo>
                  <a:lnTo>
                    <a:pt x="108" y="186"/>
                  </a:lnTo>
                  <a:lnTo>
                    <a:pt x="98" y="182"/>
                  </a:lnTo>
                  <a:lnTo>
                    <a:pt x="91" y="176"/>
                  </a:lnTo>
                  <a:lnTo>
                    <a:pt x="85" y="169"/>
                  </a:lnTo>
                  <a:lnTo>
                    <a:pt x="85" y="169"/>
                  </a:lnTo>
                  <a:lnTo>
                    <a:pt x="85" y="169"/>
                  </a:lnTo>
                  <a:lnTo>
                    <a:pt x="83" y="169"/>
                  </a:lnTo>
                  <a:lnTo>
                    <a:pt x="83" y="169"/>
                  </a:lnTo>
                  <a:lnTo>
                    <a:pt x="89" y="178"/>
                  </a:lnTo>
                  <a:lnTo>
                    <a:pt x="98" y="186"/>
                  </a:lnTo>
                  <a:lnTo>
                    <a:pt x="108" y="188"/>
                  </a:lnTo>
                  <a:lnTo>
                    <a:pt x="120" y="186"/>
                  </a:lnTo>
                  <a:lnTo>
                    <a:pt x="120" y="186"/>
                  </a:lnTo>
                  <a:lnTo>
                    <a:pt x="123" y="184"/>
                  </a:lnTo>
                  <a:lnTo>
                    <a:pt x="123" y="184"/>
                  </a:lnTo>
                  <a:lnTo>
                    <a:pt x="131" y="178"/>
                  </a:lnTo>
                  <a:lnTo>
                    <a:pt x="135" y="171"/>
                  </a:lnTo>
                  <a:lnTo>
                    <a:pt x="137" y="163"/>
                  </a:lnTo>
                  <a:lnTo>
                    <a:pt x="137" y="155"/>
                  </a:lnTo>
                  <a:lnTo>
                    <a:pt x="137" y="155"/>
                  </a:lnTo>
                  <a:lnTo>
                    <a:pt x="133" y="151"/>
                  </a:lnTo>
                  <a:lnTo>
                    <a:pt x="133" y="151"/>
                  </a:lnTo>
                  <a:close/>
                  <a:moveTo>
                    <a:pt x="69" y="140"/>
                  </a:moveTo>
                  <a:lnTo>
                    <a:pt x="69" y="140"/>
                  </a:lnTo>
                  <a:lnTo>
                    <a:pt x="71" y="136"/>
                  </a:lnTo>
                  <a:lnTo>
                    <a:pt x="73" y="134"/>
                  </a:lnTo>
                  <a:lnTo>
                    <a:pt x="73" y="134"/>
                  </a:lnTo>
                  <a:lnTo>
                    <a:pt x="77" y="134"/>
                  </a:lnTo>
                  <a:lnTo>
                    <a:pt x="81" y="138"/>
                  </a:lnTo>
                  <a:lnTo>
                    <a:pt x="81" y="138"/>
                  </a:lnTo>
                  <a:lnTo>
                    <a:pt x="81" y="138"/>
                  </a:lnTo>
                  <a:lnTo>
                    <a:pt x="98" y="130"/>
                  </a:lnTo>
                  <a:lnTo>
                    <a:pt x="91" y="105"/>
                  </a:lnTo>
                  <a:lnTo>
                    <a:pt x="91" y="105"/>
                  </a:lnTo>
                  <a:lnTo>
                    <a:pt x="87" y="97"/>
                  </a:lnTo>
                  <a:lnTo>
                    <a:pt x="81" y="91"/>
                  </a:lnTo>
                  <a:lnTo>
                    <a:pt x="71" y="89"/>
                  </a:lnTo>
                  <a:lnTo>
                    <a:pt x="62" y="89"/>
                  </a:lnTo>
                  <a:lnTo>
                    <a:pt x="60" y="91"/>
                  </a:lnTo>
                  <a:lnTo>
                    <a:pt x="60" y="91"/>
                  </a:lnTo>
                  <a:lnTo>
                    <a:pt x="50" y="95"/>
                  </a:lnTo>
                  <a:lnTo>
                    <a:pt x="44" y="103"/>
                  </a:lnTo>
                  <a:lnTo>
                    <a:pt x="42" y="111"/>
                  </a:lnTo>
                  <a:lnTo>
                    <a:pt x="44" y="120"/>
                  </a:lnTo>
                  <a:lnTo>
                    <a:pt x="50" y="145"/>
                  </a:lnTo>
                  <a:lnTo>
                    <a:pt x="50" y="145"/>
                  </a:lnTo>
                  <a:lnTo>
                    <a:pt x="69" y="140"/>
                  </a:lnTo>
                  <a:lnTo>
                    <a:pt x="69" y="140"/>
                  </a:lnTo>
                  <a:close/>
                  <a:moveTo>
                    <a:pt x="75" y="157"/>
                  </a:moveTo>
                  <a:lnTo>
                    <a:pt x="71" y="142"/>
                  </a:lnTo>
                  <a:lnTo>
                    <a:pt x="71" y="142"/>
                  </a:lnTo>
                  <a:lnTo>
                    <a:pt x="52" y="147"/>
                  </a:lnTo>
                  <a:lnTo>
                    <a:pt x="54" y="153"/>
                  </a:lnTo>
                  <a:lnTo>
                    <a:pt x="54" y="153"/>
                  </a:lnTo>
                  <a:lnTo>
                    <a:pt x="58" y="163"/>
                  </a:lnTo>
                  <a:lnTo>
                    <a:pt x="65" y="167"/>
                  </a:lnTo>
                  <a:lnTo>
                    <a:pt x="73" y="171"/>
                  </a:lnTo>
                  <a:lnTo>
                    <a:pt x="83" y="169"/>
                  </a:lnTo>
                  <a:lnTo>
                    <a:pt x="83" y="169"/>
                  </a:lnTo>
                  <a:lnTo>
                    <a:pt x="81" y="161"/>
                  </a:lnTo>
                  <a:lnTo>
                    <a:pt x="81" y="161"/>
                  </a:lnTo>
                  <a:lnTo>
                    <a:pt x="77" y="159"/>
                  </a:lnTo>
                  <a:lnTo>
                    <a:pt x="75" y="157"/>
                  </a:lnTo>
                  <a:close/>
                  <a:moveTo>
                    <a:pt x="85" y="153"/>
                  </a:moveTo>
                  <a:lnTo>
                    <a:pt x="85" y="153"/>
                  </a:lnTo>
                  <a:lnTo>
                    <a:pt x="85" y="157"/>
                  </a:lnTo>
                  <a:lnTo>
                    <a:pt x="83" y="161"/>
                  </a:lnTo>
                  <a:lnTo>
                    <a:pt x="85" y="169"/>
                  </a:lnTo>
                  <a:lnTo>
                    <a:pt x="85" y="169"/>
                  </a:lnTo>
                  <a:lnTo>
                    <a:pt x="85" y="169"/>
                  </a:lnTo>
                  <a:lnTo>
                    <a:pt x="85" y="169"/>
                  </a:lnTo>
                  <a:lnTo>
                    <a:pt x="87" y="169"/>
                  </a:lnTo>
                  <a:lnTo>
                    <a:pt x="87" y="169"/>
                  </a:lnTo>
                  <a:lnTo>
                    <a:pt x="94" y="165"/>
                  </a:lnTo>
                  <a:lnTo>
                    <a:pt x="100" y="157"/>
                  </a:lnTo>
                  <a:lnTo>
                    <a:pt x="102" y="149"/>
                  </a:lnTo>
                  <a:lnTo>
                    <a:pt x="102" y="140"/>
                  </a:lnTo>
                  <a:lnTo>
                    <a:pt x="100" y="132"/>
                  </a:lnTo>
                  <a:lnTo>
                    <a:pt x="100" y="132"/>
                  </a:lnTo>
                  <a:lnTo>
                    <a:pt x="81" y="140"/>
                  </a:lnTo>
                  <a:lnTo>
                    <a:pt x="85" y="153"/>
                  </a:lnTo>
                  <a:close/>
                  <a:moveTo>
                    <a:pt x="85" y="169"/>
                  </a:moveTo>
                  <a:lnTo>
                    <a:pt x="85" y="169"/>
                  </a:lnTo>
                  <a:lnTo>
                    <a:pt x="85" y="169"/>
                  </a:lnTo>
                  <a:lnTo>
                    <a:pt x="85" y="169"/>
                  </a:lnTo>
                  <a:lnTo>
                    <a:pt x="85" y="169"/>
                  </a:lnTo>
                  <a:lnTo>
                    <a:pt x="85" y="169"/>
                  </a:lnTo>
                  <a:close/>
                  <a:moveTo>
                    <a:pt x="75" y="138"/>
                  </a:moveTo>
                  <a:lnTo>
                    <a:pt x="75" y="138"/>
                  </a:lnTo>
                  <a:lnTo>
                    <a:pt x="75" y="138"/>
                  </a:lnTo>
                  <a:lnTo>
                    <a:pt x="75" y="138"/>
                  </a:lnTo>
                  <a:lnTo>
                    <a:pt x="75" y="138"/>
                  </a:lnTo>
                  <a:close/>
                  <a:moveTo>
                    <a:pt x="75" y="140"/>
                  </a:moveTo>
                  <a:lnTo>
                    <a:pt x="75" y="140"/>
                  </a:lnTo>
                  <a:lnTo>
                    <a:pt x="73" y="140"/>
                  </a:lnTo>
                  <a:lnTo>
                    <a:pt x="73" y="140"/>
                  </a:lnTo>
                  <a:lnTo>
                    <a:pt x="75" y="140"/>
                  </a:lnTo>
                  <a:lnTo>
                    <a:pt x="75" y="140"/>
                  </a:lnTo>
                  <a:close/>
                  <a:moveTo>
                    <a:pt x="77" y="138"/>
                  </a:moveTo>
                  <a:lnTo>
                    <a:pt x="77" y="138"/>
                  </a:lnTo>
                  <a:lnTo>
                    <a:pt x="75" y="138"/>
                  </a:lnTo>
                  <a:lnTo>
                    <a:pt x="77" y="140"/>
                  </a:lnTo>
                  <a:lnTo>
                    <a:pt x="77" y="140"/>
                  </a:lnTo>
                  <a:lnTo>
                    <a:pt x="77" y="138"/>
                  </a:lnTo>
                  <a:close/>
                  <a:moveTo>
                    <a:pt x="73" y="142"/>
                  </a:moveTo>
                  <a:lnTo>
                    <a:pt x="73" y="142"/>
                  </a:lnTo>
                  <a:lnTo>
                    <a:pt x="73" y="143"/>
                  </a:lnTo>
                  <a:lnTo>
                    <a:pt x="75" y="153"/>
                  </a:lnTo>
                  <a:lnTo>
                    <a:pt x="75" y="153"/>
                  </a:lnTo>
                  <a:lnTo>
                    <a:pt x="77" y="155"/>
                  </a:lnTo>
                  <a:lnTo>
                    <a:pt x="79" y="155"/>
                  </a:lnTo>
                  <a:lnTo>
                    <a:pt x="75" y="142"/>
                  </a:lnTo>
                  <a:lnTo>
                    <a:pt x="75" y="142"/>
                  </a:lnTo>
                  <a:lnTo>
                    <a:pt x="73" y="142"/>
                  </a:lnTo>
                  <a:close/>
                  <a:moveTo>
                    <a:pt x="81" y="155"/>
                  </a:moveTo>
                  <a:lnTo>
                    <a:pt x="81" y="155"/>
                  </a:lnTo>
                  <a:lnTo>
                    <a:pt x="83" y="153"/>
                  </a:lnTo>
                  <a:lnTo>
                    <a:pt x="83" y="151"/>
                  </a:lnTo>
                  <a:lnTo>
                    <a:pt x="79" y="142"/>
                  </a:lnTo>
                  <a:lnTo>
                    <a:pt x="79" y="142"/>
                  </a:lnTo>
                  <a:lnTo>
                    <a:pt x="79" y="140"/>
                  </a:lnTo>
                  <a:lnTo>
                    <a:pt x="79" y="140"/>
                  </a:lnTo>
                  <a:lnTo>
                    <a:pt x="77" y="142"/>
                  </a:lnTo>
                  <a:lnTo>
                    <a:pt x="81" y="155"/>
                  </a:lnTo>
                  <a:close/>
                  <a:moveTo>
                    <a:pt x="75" y="140"/>
                  </a:moveTo>
                  <a:lnTo>
                    <a:pt x="75" y="140"/>
                  </a:lnTo>
                  <a:lnTo>
                    <a:pt x="73" y="140"/>
                  </a:lnTo>
                  <a:lnTo>
                    <a:pt x="73" y="140"/>
                  </a:lnTo>
                  <a:lnTo>
                    <a:pt x="73" y="142"/>
                  </a:lnTo>
                  <a:lnTo>
                    <a:pt x="73" y="142"/>
                  </a:lnTo>
                  <a:lnTo>
                    <a:pt x="75" y="142"/>
                  </a:lnTo>
                  <a:lnTo>
                    <a:pt x="75" y="140"/>
                  </a:lnTo>
                  <a:close/>
                  <a:moveTo>
                    <a:pt x="77" y="140"/>
                  </a:moveTo>
                  <a:lnTo>
                    <a:pt x="77" y="142"/>
                  </a:lnTo>
                  <a:lnTo>
                    <a:pt x="77" y="142"/>
                  </a:lnTo>
                  <a:lnTo>
                    <a:pt x="79" y="140"/>
                  </a:lnTo>
                  <a:lnTo>
                    <a:pt x="79" y="140"/>
                  </a:lnTo>
                  <a:lnTo>
                    <a:pt x="77" y="138"/>
                  </a:lnTo>
                  <a:lnTo>
                    <a:pt x="77" y="138"/>
                  </a:lnTo>
                  <a:lnTo>
                    <a:pt x="77" y="140"/>
                  </a:lnTo>
                  <a:close/>
                  <a:moveTo>
                    <a:pt x="75" y="140"/>
                  </a:moveTo>
                  <a:lnTo>
                    <a:pt x="75" y="140"/>
                  </a:lnTo>
                  <a:lnTo>
                    <a:pt x="77" y="140"/>
                  </a:lnTo>
                  <a:lnTo>
                    <a:pt x="75" y="138"/>
                  </a:lnTo>
                  <a:lnTo>
                    <a:pt x="75" y="138"/>
                  </a:lnTo>
                  <a:lnTo>
                    <a:pt x="75" y="138"/>
                  </a:lnTo>
                  <a:lnTo>
                    <a:pt x="75" y="138"/>
                  </a:lnTo>
                  <a:lnTo>
                    <a:pt x="75" y="138"/>
                  </a:lnTo>
                  <a:lnTo>
                    <a:pt x="75" y="140"/>
                  </a:lnTo>
                  <a:lnTo>
                    <a:pt x="75" y="140"/>
                  </a:lnTo>
                  <a:lnTo>
                    <a:pt x="75" y="140"/>
                  </a:lnTo>
                  <a:lnTo>
                    <a:pt x="75" y="140"/>
                  </a:lnTo>
                  <a:close/>
                  <a:moveTo>
                    <a:pt x="75" y="142"/>
                  </a:moveTo>
                  <a:lnTo>
                    <a:pt x="75" y="142"/>
                  </a:lnTo>
                  <a:lnTo>
                    <a:pt x="75" y="142"/>
                  </a:lnTo>
                  <a:lnTo>
                    <a:pt x="79" y="155"/>
                  </a:lnTo>
                  <a:lnTo>
                    <a:pt x="79" y="155"/>
                  </a:lnTo>
                  <a:lnTo>
                    <a:pt x="81" y="155"/>
                  </a:lnTo>
                  <a:lnTo>
                    <a:pt x="81" y="155"/>
                  </a:lnTo>
                  <a:lnTo>
                    <a:pt x="81" y="155"/>
                  </a:lnTo>
                  <a:lnTo>
                    <a:pt x="77" y="142"/>
                  </a:lnTo>
                  <a:lnTo>
                    <a:pt x="77" y="142"/>
                  </a:lnTo>
                  <a:lnTo>
                    <a:pt x="75" y="142"/>
                  </a:lnTo>
                  <a:close/>
                  <a:moveTo>
                    <a:pt x="75" y="140"/>
                  </a:moveTo>
                  <a:lnTo>
                    <a:pt x="75" y="142"/>
                  </a:lnTo>
                  <a:lnTo>
                    <a:pt x="75" y="142"/>
                  </a:lnTo>
                  <a:lnTo>
                    <a:pt x="75" y="142"/>
                  </a:lnTo>
                  <a:lnTo>
                    <a:pt x="75" y="142"/>
                  </a:lnTo>
                  <a:lnTo>
                    <a:pt x="77" y="142"/>
                  </a:lnTo>
                  <a:lnTo>
                    <a:pt x="77" y="140"/>
                  </a:lnTo>
                  <a:lnTo>
                    <a:pt x="77" y="140"/>
                  </a:lnTo>
                  <a:lnTo>
                    <a:pt x="75" y="140"/>
                  </a:lnTo>
                  <a:lnTo>
                    <a:pt x="75" y="140"/>
                  </a:lnTo>
                  <a:lnTo>
                    <a:pt x="75" y="140"/>
                  </a:lnTo>
                  <a:close/>
                  <a:moveTo>
                    <a:pt x="156" y="149"/>
                  </a:moveTo>
                  <a:lnTo>
                    <a:pt x="156" y="149"/>
                  </a:lnTo>
                  <a:lnTo>
                    <a:pt x="164" y="143"/>
                  </a:lnTo>
                  <a:lnTo>
                    <a:pt x="174" y="142"/>
                  </a:lnTo>
                  <a:lnTo>
                    <a:pt x="183" y="142"/>
                  </a:lnTo>
                  <a:lnTo>
                    <a:pt x="193" y="147"/>
                  </a:lnTo>
                  <a:lnTo>
                    <a:pt x="193" y="147"/>
                  </a:lnTo>
                  <a:lnTo>
                    <a:pt x="199" y="155"/>
                  </a:lnTo>
                  <a:lnTo>
                    <a:pt x="201" y="165"/>
                  </a:lnTo>
                  <a:lnTo>
                    <a:pt x="201" y="174"/>
                  </a:lnTo>
                  <a:lnTo>
                    <a:pt x="195" y="182"/>
                  </a:lnTo>
                  <a:lnTo>
                    <a:pt x="195" y="182"/>
                  </a:lnTo>
                  <a:lnTo>
                    <a:pt x="195" y="182"/>
                  </a:lnTo>
                  <a:lnTo>
                    <a:pt x="195" y="184"/>
                  </a:lnTo>
                  <a:lnTo>
                    <a:pt x="197" y="184"/>
                  </a:lnTo>
                  <a:lnTo>
                    <a:pt x="197" y="184"/>
                  </a:lnTo>
                  <a:lnTo>
                    <a:pt x="203" y="174"/>
                  </a:lnTo>
                  <a:lnTo>
                    <a:pt x="203" y="165"/>
                  </a:lnTo>
                  <a:lnTo>
                    <a:pt x="201" y="153"/>
                  </a:lnTo>
                  <a:lnTo>
                    <a:pt x="193" y="145"/>
                  </a:lnTo>
                  <a:lnTo>
                    <a:pt x="193" y="145"/>
                  </a:lnTo>
                  <a:lnTo>
                    <a:pt x="185" y="140"/>
                  </a:lnTo>
                  <a:lnTo>
                    <a:pt x="176" y="138"/>
                  </a:lnTo>
                  <a:lnTo>
                    <a:pt x="166" y="140"/>
                  </a:lnTo>
                  <a:lnTo>
                    <a:pt x="158" y="145"/>
                  </a:lnTo>
                  <a:lnTo>
                    <a:pt x="158" y="145"/>
                  </a:lnTo>
                  <a:lnTo>
                    <a:pt x="156" y="149"/>
                  </a:lnTo>
                  <a:close/>
                  <a:moveTo>
                    <a:pt x="191" y="190"/>
                  </a:moveTo>
                  <a:lnTo>
                    <a:pt x="191" y="190"/>
                  </a:lnTo>
                  <a:lnTo>
                    <a:pt x="191" y="194"/>
                  </a:lnTo>
                  <a:lnTo>
                    <a:pt x="189" y="198"/>
                  </a:lnTo>
                  <a:lnTo>
                    <a:pt x="180" y="209"/>
                  </a:lnTo>
                  <a:lnTo>
                    <a:pt x="180" y="209"/>
                  </a:lnTo>
                  <a:lnTo>
                    <a:pt x="193" y="223"/>
                  </a:lnTo>
                  <a:lnTo>
                    <a:pt x="199" y="217"/>
                  </a:lnTo>
                  <a:lnTo>
                    <a:pt x="199" y="217"/>
                  </a:lnTo>
                  <a:lnTo>
                    <a:pt x="203" y="209"/>
                  </a:lnTo>
                  <a:lnTo>
                    <a:pt x="205" y="202"/>
                  </a:lnTo>
                  <a:lnTo>
                    <a:pt x="203" y="192"/>
                  </a:lnTo>
                  <a:lnTo>
                    <a:pt x="197" y="184"/>
                  </a:lnTo>
                  <a:lnTo>
                    <a:pt x="197" y="184"/>
                  </a:lnTo>
                  <a:lnTo>
                    <a:pt x="197" y="184"/>
                  </a:lnTo>
                  <a:lnTo>
                    <a:pt x="191" y="190"/>
                  </a:lnTo>
                  <a:close/>
                  <a:moveTo>
                    <a:pt x="178" y="209"/>
                  </a:moveTo>
                  <a:lnTo>
                    <a:pt x="178" y="209"/>
                  </a:lnTo>
                  <a:lnTo>
                    <a:pt x="174" y="211"/>
                  </a:lnTo>
                  <a:lnTo>
                    <a:pt x="170" y="211"/>
                  </a:lnTo>
                  <a:lnTo>
                    <a:pt x="170" y="211"/>
                  </a:lnTo>
                  <a:lnTo>
                    <a:pt x="170" y="207"/>
                  </a:lnTo>
                  <a:lnTo>
                    <a:pt x="170" y="203"/>
                  </a:lnTo>
                  <a:lnTo>
                    <a:pt x="170" y="203"/>
                  </a:lnTo>
                  <a:lnTo>
                    <a:pt x="170" y="203"/>
                  </a:lnTo>
                  <a:lnTo>
                    <a:pt x="154" y="190"/>
                  </a:lnTo>
                  <a:lnTo>
                    <a:pt x="137" y="209"/>
                  </a:lnTo>
                  <a:lnTo>
                    <a:pt x="137" y="209"/>
                  </a:lnTo>
                  <a:lnTo>
                    <a:pt x="133" y="217"/>
                  </a:lnTo>
                  <a:lnTo>
                    <a:pt x="131" y="227"/>
                  </a:lnTo>
                  <a:lnTo>
                    <a:pt x="133" y="234"/>
                  </a:lnTo>
                  <a:lnTo>
                    <a:pt x="139" y="242"/>
                  </a:lnTo>
                  <a:lnTo>
                    <a:pt x="141" y="244"/>
                  </a:lnTo>
                  <a:lnTo>
                    <a:pt x="141" y="244"/>
                  </a:lnTo>
                  <a:lnTo>
                    <a:pt x="149" y="250"/>
                  </a:lnTo>
                  <a:lnTo>
                    <a:pt x="158" y="250"/>
                  </a:lnTo>
                  <a:lnTo>
                    <a:pt x="166" y="248"/>
                  </a:lnTo>
                  <a:lnTo>
                    <a:pt x="174" y="244"/>
                  </a:lnTo>
                  <a:lnTo>
                    <a:pt x="191" y="225"/>
                  </a:lnTo>
                  <a:lnTo>
                    <a:pt x="191" y="225"/>
                  </a:lnTo>
                  <a:lnTo>
                    <a:pt x="178" y="209"/>
                  </a:lnTo>
                  <a:lnTo>
                    <a:pt x="178" y="209"/>
                  </a:lnTo>
                  <a:close/>
                  <a:moveTo>
                    <a:pt x="181" y="190"/>
                  </a:moveTo>
                  <a:lnTo>
                    <a:pt x="181" y="190"/>
                  </a:lnTo>
                  <a:lnTo>
                    <a:pt x="185" y="188"/>
                  </a:lnTo>
                  <a:lnTo>
                    <a:pt x="189" y="190"/>
                  </a:lnTo>
                  <a:lnTo>
                    <a:pt x="195" y="182"/>
                  </a:lnTo>
                  <a:lnTo>
                    <a:pt x="195" y="182"/>
                  </a:lnTo>
                  <a:lnTo>
                    <a:pt x="195" y="182"/>
                  </a:lnTo>
                  <a:lnTo>
                    <a:pt x="195" y="182"/>
                  </a:lnTo>
                  <a:lnTo>
                    <a:pt x="195" y="182"/>
                  </a:lnTo>
                  <a:lnTo>
                    <a:pt x="195" y="182"/>
                  </a:lnTo>
                  <a:lnTo>
                    <a:pt x="187" y="178"/>
                  </a:lnTo>
                  <a:lnTo>
                    <a:pt x="178" y="176"/>
                  </a:lnTo>
                  <a:lnTo>
                    <a:pt x="170" y="178"/>
                  </a:lnTo>
                  <a:lnTo>
                    <a:pt x="162" y="184"/>
                  </a:lnTo>
                  <a:lnTo>
                    <a:pt x="156" y="188"/>
                  </a:lnTo>
                  <a:lnTo>
                    <a:pt x="156" y="188"/>
                  </a:lnTo>
                  <a:lnTo>
                    <a:pt x="172" y="202"/>
                  </a:lnTo>
                  <a:lnTo>
                    <a:pt x="181" y="190"/>
                  </a:lnTo>
                  <a:close/>
                  <a:moveTo>
                    <a:pt x="195" y="182"/>
                  </a:moveTo>
                  <a:lnTo>
                    <a:pt x="195" y="182"/>
                  </a:lnTo>
                  <a:lnTo>
                    <a:pt x="195" y="182"/>
                  </a:lnTo>
                  <a:lnTo>
                    <a:pt x="195" y="182"/>
                  </a:lnTo>
                  <a:lnTo>
                    <a:pt x="195" y="182"/>
                  </a:lnTo>
                  <a:lnTo>
                    <a:pt x="195" y="182"/>
                  </a:lnTo>
                  <a:close/>
                  <a:moveTo>
                    <a:pt x="174" y="205"/>
                  </a:moveTo>
                  <a:lnTo>
                    <a:pt x="174" y="205"/>
                  </a:lnTo>
                  <a:lnTo>
                    <a:pt x="174" y="205"/>
                  </a:lnTo>
                  <a:lnTo>
                    <a:pt x="174" y="205"/>
                  </a:lnTo>
                  <a:lnTo>
                    <a:pt x="174" y="205"/>
                  </a:lnTo>
                  <a:lnTo>
                    <a:pt x="174" y="205"/>
                  </a:lnTo>
                  <a:close/>
                  <a:moveTo>
                    <a:pt x="174" y="207"/>
                  </a:moveTo>
                  <a:lnTo>
                    <a:pt x="174" y="207"/>
                  </a:lnTo>
                  <a:lnTo>
                    <a:pt x="174" y="207"/>
                  </a:lnTo>
                  <a:lnTo>
                    <a:pt x="174" y="207"/>
                  </a:lnTo>
                  <a:lnTo>
                    <a:pt x="174" y="207"/>
                  </a:lnTo>
                  <a:lnTo>
                    <a:pt x="174" y="207"/>
                  </a:lnTo>
                  <a:close/>
                  <a:moveTo>
                    <a:pt x="176" y="207"/>
                  </a:moveTo>
                  <a:lnTo>
                    <a:pt x="176" y="207"/>
                  </a:lnTo>
                  <a:lnTo>
                    <a:pt x="176" y="207"/>
                  </a:lnTo>
                  <a:lnTo>
                    <a:pt x="176" y="207"/>
                  </a:lnTo>
                  <a:lnTo>
                    <a:pt x="176" y="207"/>
                  </a:lnTo>
                  <a:lnTo>
                    <a:pt x="176" y="207"/>
                  </a:lnTo>
                  <a:close/>
                  <a:moveTo>
                    <a:pt x="185" y="194"/>
                  </a:moveTo>
                  <a:lnTo>
                    <a:pt x="185" y="194"/>
                  </a:lnTo>
                  <a:lnTo>
                    <a:pt x="183" y="194"/>
                  </a:lnTo>
                  <a:lnTo>
                    <a:pt x="181" y="194"/>
                  </a:lnTo>
                  <a:lnTo>
                    <a:pt x="174" y="202"/>
                  </a:lnTo>
                  <a:lnTo>
                    <a:pt x="174" y="202"/>
                  </a:lnTo>
                  <a:lnTo>
                    <a:pt x="174" y="203"/>
                  </a:lnTo>
                  <a:lnTo>
                    <a:pt x="174" y="203"/>
                  </a:lnTo>
                  <a:lnTo>
                    <a:pt x="176" y="203"/>
                  </a:lnTo>
                  <a:lnTo>
                    <a:pt x="185" y="194"/>
                  </a:lnTo>
                  <a:close/>
                  <a:moveTo>
                    <a:pt x="178" y="207"/>
                  </a:moveTo>
                  <a:lnTo>
                    <a:pt x="178" y="207"/>
                  </a:lnTo>
                  <a:lnTo>
                    <a:pt x="180" y="205"/>
                  </a:lnTo>
                  <a:lnTo>
                    <a:pt x="187" y="200"/>
                  </a:lnTo>
                  <a:lnTo>
                    <a:pt x="187" y="200"/>
                  </a:lnTo>
                  <a:lnTo>
                    <a:pt x="187" y="196"/>
                  </a:lnTo>
                  <a:lnTo>
                    <a:pt x="187" y="194"/>
                  </a:lnTo>
                  <a:lnTo>
                    <a:pt x="178" y="205"/>
                  </a:lnTo>
                  <a:lnTo>
                    <a:pt x="178" y="205"/>
                  </a:lnTo>
                  <a:lnTo>
                    <a:pt x="178" y="207"/>
                  </a:lnTo>
                  <a:close/>
                  <a:moveTo>
                    <a:pt x="174" y="205"/>
                  </a:moveTo>
                  <a:lnTo>
                    <a:pt x="174" y="205"/>
                  </a:lnTo>
                  <a:lnTo>
                    <a:pt x="174" y="205"/>
                  </a:lnTo>
                  <a:lnTo>
                    <a:pt x="176" y="203"/>
                  </a:lnTo>
                  <a:lnTo>
                    <a:pt x="176" y="203"/>
                  </a:lnTo>
                  <a:lnTo>
                    <a:pt x="174" y="203"/>
                  </a:lnTo>
                  <a:lnTo>
                    <a:pt x="174" y="203"/>
                  </a:lnTo>
                  <a:lnTo>
                    <a:pt x="174" y="205"/>
                  </a:lnTo>
                  <a:close/>
                  <a:moveTo>
                    <a:pt x="176" y="207"/>
                  </a:moveTo>
                  <a:lnTo>
                    <a:pt x="176" y="207"/>
                  </a:lnTo>
                  <a:lnTo>
                    <a:pt x="176" y="207"/>
                  </a:lnTo>
                  <a:lnTo>
                    <a:pt x="176" y="207"/>
                  </a:lnTo>
                  <a:lnTo>
                    <a:pt x="178" y="207"/>
                  </a:lnTo>
                  <a:lnTo>
                    <a:pt x="178" y="207"/>
                  </a:lnTo>
                  <a:lnTo>
                    <a:pt x="178" y="205"/>
                  </a:lnTo>
                  <a:lnTo>
                    <a:pt x="176" y="207"/>
                  </a:lnTo>
                  <a:close/>
                  <a:moveTo>
                    <a:pt x="176" y="205"/>
                  </a:moveTo>
                  <a:lnTo>
                    <a:pt x="176" y="205"/>
                  </a:lnTo>
                  <a:lnTo>
                    <a:pt x="178" y="205"/>
                  </a:lnTo>
                  <a:lnTo>
                    <a:pt x="187" y="194"/>
                  </a:lnTo>
                  <a:lnTo>
                    <a:pt x="187" y="194"/>
                  </a:lnTo>
                  <a:lnTo>
                    <a:pt x="187" y="194"/>
                  </a:lnTo>
                  <a:lnTo>
                    <a:pt x="187" y="194"/>
                  </a:lnTo>
                  <a:lnTo>
                    <a:pt x="185" y="194"/>
                  </a:lnTo>
                  <a:lnTo>
                    <a:pt x="176" y="203"/>
                  </a:lnTo>
                  <a:lnTo>
                    <a:pt x="176" y="203"/>
                  </a:lnTo>
                  <a:lnTo>
                    <a:pt x="176" y="205"/>
                  </a:lnTo>
                  <a:close/>
                  <a:moveTo>
                    <a:pt x="174" y="205"/>
                  </a:moveTo>
                  <a:lnTo>
                    <a:pt x="174" y="205"/>
                  </a:lnTo>
                  <a:lnTo>
                    <a:pt x="174" y="205"/>
                  </a:lnTo>
                  <a:lnTo>
                    <a:pt x="174" y="205"/>
                  </a:lnTo>
                  <a:lnTo>
                    <a:pt x="174" y="205"/>
                  </a:lnTo>
                  <a:lnTo>
                    <a:pt x="174" y="207"/>
                  </a:lnTo>
                  <a:lnTo>
                    <a:pt x="174" y="207"/>
                  </a:lnTo>
                  <a:lnTo>
                    <a:pt x="174" y="207"/>
                  </a:lnTo>
                  <a:lnTo>
                    <a:pt x="176" y="207"/>
                  </a:lnTo>
                  <a:lnTo>
                    <a:pt x="176" y="207"/>
                  </a:lnTo>
                  <a:lnTo>
                    <a:pt x="176" y="207"/>
                  </a:lnTo>
                  <a:lnTo>
                    <a:pt x="174" y="205"/>
                  </a:lnTo>
                  <a:close/>
                  <a:moveTo>
                    <a:pt x="176" y="207"/>
                  </a:moveTo>
                  <a:lnTo>
                    <a:pt x="178" y="205"/>
                  </a:lnTo>
                  <a:lnTo>
                    <a:pt x="178" y="205"/>
                  </a:lnTo>
                  <a:lnTo>
                    <a:pt x="176" y="205"/>
                  </a:lnTo>
                  <a:lnTo>
                    <a:pt x="176" y="205"/>
                  </a:lnTo>
                  <a:lnTo>
                    <a:pt x="176" y="203"/>
                  </a:lnTo>
                  <a:lnTo>
                    <a:pt x="174" y="205"/>
                  </a:lnTo>
                  <a:lnTo>
                    <a:pt x="174" y="205"/>
                  </a:lnTo>
                  <a:lnTo>
                    <a:pt x="174" y="205"/>
                  </a:lnTo>
                  <a:lnTo>
                    <a:pt x="174" y="205"/>
                  </a:lnTo>
                  <a:lnTo>
                    <a:pt x="176" y="207"/>
                  </a:lnTo>
                  <a:close/>
                  <a:moveTo>
                    <a:pt x="137" y="149"/>
                  </a:moveTo>
                  <a:lnTo>
                    <a:pt x="137" y="149"/>
                  </a:lnTo>
                  <a:lnTo>
                    <a:pt x="139" y="151"/>
                  </a:lnTo>
                  <a:lnTo>
                    <a:pt x="143" y="153"/>
                  </a:lnTo>
                  <a:lnTo>
                    <a:pt x="147" y="153"/>
                  </a:lnTo>
                  <a:lnTo>
                    <a:pt x="149" y="151"/>
                  </a:lnTo>
                  <a:lnTo>
                    <a:pt x="149" y="151"/>
                  </a:lnTo>
                  <a:lnTo>
                    <a:pt x="152" y="149"/>
                  </a:lnTo>
                  <a:lnTo>
                    <a:pt x="152" y="145"/>
                  </a:lnTo>
                  <a:lnTo>
                    <a:pt x="152" y="142"/>
                  </a:lnTo>
                  <a:lnTo>
                    <a:pt x="152" y="140"/>
                  </a:lnTo>
                  <a:lnTo>
                    <a:pt x="152" y="140"/>
                  </a:lnTo>
                  <a:lnTo>
                    <a:pt x="150" y="136"/>
                  </a:lnTo>
                  <a:lnTo>
                    <a:pt x="147" y="136"/>
                  </a:lnTo>
                  <a:lnTo>
                    <a:pt x="143" y="136"/>
                  </a:lnTo>
                  <a:lnTo>
                    <a:pt x="139" y="136"/>
                  </a:lnTo>
                  <a:lnTo>
                    <a:pt x="139" y="136"/>
                  </a:lnTo>
                  <a:lnTo>
                    <a:pt x="137" y="140"/>
                  </a:lnTo>
                  <a:lnTo>
                    <a:pt x="135" y="142"/>
                  </a:lnTo>
                  <a:lnTo>
                    <a:pt x="135" y="145"/>
                  </a:lnTo>
                  <a:lnTo>
                    <a:pt x="137" y="149"/>
                  </a:lnTo>
                  <a:close/>
                  <a:moveTo>
                    <a:pt x="143" y="134"/>
                  </a:moveTo>
                  <a:lnTo>
                    <a:pt x="143" y="134"/>
                  </a:lnTo>
                  <a:lnTo>
                    <a:pt x="149" y="134"/>
                  </a:lnTo>
                  <a:lnTo>
                    <a:pt x="154" y="138"/>
                  </a:lnTo>
                  <a:lnTo>
                    <a:pt x="154" y="138"/>
                  </a:lnTo>
                  <a:lnTo>
                    <a:pt x="156" y="142"/>
                  </a:lnTo>
                  <a:lnTo>
                    <a:pt x="154" y="147"/>
                  </a:lnTo>
                  <a:lnTo>
                    <a:pt x="154" y="151"/>
                  </a:lnTo>
                  <a:lnTo>
                    <a:pt x="150" y="153"/>
                  </a:lnTo>
                  <a:lnTo>
                    <a:pt x="150" y="153"/>
                  </a:lnTo>
                  <a:lnTo>
                    <a:pt x="147" y="155"/>
                  </a:lnTo>
                  <a:lnTo>
                    <a:pt x="143" y="155"/>
                  </a:lnTo>
                  <a:lnTo>
                    <a:pt x="139" y="153"/>
                  </a:lnTo>
                  <a:lnTo>
                    <a:pt x="135" y="149"/>
                  </a:lnTo>
                  <a:lnTo>
                    <a:pt x="135" y="149"/>
                  </a:lnTo>
                  <a:lnTo>
                    <a:pt x="133" y="145"/>
                  </a:lnTo>
                  <a:lnTo>
                    <a:pt x="133" y="142"/>
                  </a:lnTo>
                  <a:lnTo>
                    <a:pt x="135" y="138"/>
                  </a:lnTo>
                  <a:lnTo>
                    <a:pt x="139" y="134"/>
                  </a:lnTo>
                  <a:lnTo>
                    <a:pt x="139" y="134"/>
                  </a:lnTo>
                  <a:lnTo>
                    <a:pt x="143" y="134"/>
                  </a:lnTo>
                  <a:lnTo>
                    <a:pt x="143" y="134"/>
                  </a:lnTo>
                  <a:lnTo>
                    <a:pt x="139" y="132"/>
                  </a:lnTo>
                  <a:lnTo>
                    <a:pt x="139" y="132"/>
                  </a:lnTo>
                  <a:lnTo>
                    <a:pt x="137" y="132"/>
                  </a:lnTo>
                  <a:lnTo>
                    <a:pt x="137" y="132"/>
                  </a:lnTo>
                  <a:lnTo>
                    <a:pt x="133" y="136"/>
                  </a:lnTo>
                  <a:lnTo>
                    <a:pt x="131" y="142"/>
                  </a:lnTo>
                  <a:lnTo>
                    <a:pt x="131" y="145"/>
                  </a:lnTo>
                  <a:lnTo>
                    <a:pt x="133" y="151"/>
                  </a:lnTo>
                  <a:lnTo>
                    <a:pt x="133" y="151"/>
                  </a:lnTo>
                  <a:lnTo>
                    <a:pt x="133" y="151"/>
                  </a:lnTo>
                  <a:lnTo>
                    <a:pt x="135" y="151"/>
                  </a:lnTo>
                  <a:lnTo>
                    <a:pt x="135" y="151"/>
                  </a:lnTo>
                  <a:lnTo>
                    <a:pt x="137" y="155"/>
                  </a:lnTo>
                  <a:lnTo>
                    <a:pt x="137" y="155"/>
                  </a:lnTo>
                  <a:lnTo>
                    <a:pt x="145" y="157"/>
                  </a:lnTo>
                  <a:lnTo>
                    <a:pt x="149" y="157"/>
                  </a:lnTo>
                  <a:lnTo>
                    <a:pt x="152" y="155"/>
                  </a:lnTo>
                  <a:lnTo>
                    <a:pt x="152" y="155"/>
                  </a:lnTo>
                  <a:lnTo>
                    <a:pt x="156" y="149"/>
                  </a:lnTo>
                  <a:lnTo>
                    <a:pt x="156" y="149"/>
                  </a:lnTo>
                  <a:lnTo>
                    <a:pt x="156" y="149"/>
                  </a:lnTo>
                  <a:lnTo>
                    <a:pt x="154" y="147"/>
                  </a:lnTo>
                  <a:lnTo>
                    <a:pt x="154" y="147"/>
                  </a:lnTo>
                  <a:lnTo>
                    <a:pt x="158" y="145"/>
                  </a:lnTo>
                  <a:lnTo>
                    <a:pt x="158" y="145"/>
                  </a:lnTo>
                  <a:lnTo>
                    <a:pt x="158" y="142"/>
                  </a:lnTo>
                  <a:lnTo>
                    <a:pt x="156" y="136"/>
                  </a:lnTo>
                  <a:lnTo>
                    <a:pt x="156" y="136"/>
                  </a:lnTo>
                  <a:lnTo>
                    <a:pt x="150" y="132"/>
                  </a:lnTo>
                  <a:lnTo>
                    <a:pt x="143" y="130"/>
                  </a:lnTo>
                  <a:lnTo>
                    <a:pt x="143" y="130"/>
                  </a:lnTo>
                  <a:lnTo>
                    <a:pt x="143" y="130"/>
                  </a:lnTo>
                  <a:lnTo>
                    <a:pt x="143" y="134"/>
                  </a:lnTo>
                  <a:close/>
                  <a:moveTo>
                    <a:pt x="143" y="134"/>
                  </a:moveTo>
                  <a:lnTo>
                    <a:pt x="143" y="134"/>
                  </a:lnTo>
                  <a:lnTo>
                    <a:pt x="143" y="134"/>
                  </a:lnTo>
                  <a:lnTo>
                    <a:pt x="143" y="130"/>
                  </a:lnTo>
                  <a:lnTo>
                    <a:pt x="143" y="130"/>
                  </a:lnTo>
                  <a:lnTo>
                    <a:pt x="143" y="130"/>
                  </a:lnTo>
                  <a:lnTo>
                    <a:pt x="143" y="130"/>
                  </a:lnTo>
                  <a:lnTo>
                    <a:pt x="139" y="132"/>
                  </a:lnTo>
                  <a:lnTo>
                    <a:pt x="139" y="132"/>
                  </a:lnTo>
                  <a:lnTo>
                    <a:pt x="143" y="134"/>
                  </a:lnTo>
                  <a:close/>
                  <a:moveTo>
                    <a:pt x="133" y="151"/>
                  </a:moveTo>
                  <a:lnTo>
                    <a:pt x="133" y="151"/>
                  </a:lnTo>
                  <a:lnTo>
                    <a:pt x="137" y="155"/>
                  </a:lnTo>
                  <a:lnTo>
                    <a:pt x="137" y="155"/>
                  </a:lnTo>
                  <a:lnTo>
                    <a:pt x="135" y="151"/>
                  </a:lnTo>
                  <a:lnTo>
                    <a:pt x="133" y="151"/>
                  </a:lnTo>
                  <a:close/>
                  <a:moveTo>
                    <a:pt x="156" y="149"/>
                  </a:moveTo>
                  <a:lnTo>
                    <a:pt x="156" y="149"/>
                  </a:lnTo>
                  <a:lnTo>
                    <a:pt x="156" y="149"/>
                  </a:lnTo>
                  <a:lnTo>
                    <a:pt x="156" y="149"/>
                  </a:lnTo>
                  <a:lnTo>
                    <a:pt x="158" y="145"/>
                  </a:lnTo>
                  <a:lnTo>
                    <a:pt x="158" y="145"/>
                  </a:lnTo>
                  <a:lnTo>
                    <a:pt x="154" y="147"/>
                  </a:lnTo>
                  <a:lnTo>
                    <a:pt x="156" y="149"/>
                  </a:lnTo>
                  <a:close/>
                  <a:moveTo>
                    <a:pt x="145" y="271"/>
                  </a:moveTo>
                  <a:lnTo>
                    <a:pt x="145" y="271"/>
                  </a:lnTo>
                  <a:lnTo>
                    <a:pt x="131" y="271"/>
                  </a:lnTo>
                  <a:lnTo>
                    <a:pt x="120" y="269"/>
                  </a:lnTo>
                  <a:lnTo>
                    <a:pt x="108" y="265"/>
                  </a:lnTo>
                  <a:lnTo>
                    <a:pt x="96" y="262"/>
                  </a:lnTo>
                  <a:lnTo>
                    <a:pt x="85" y="256"/>
                  </a:lnTo>
                  <a:lnTo>
                    <a:pt x="75" y="250"/>
                  </a:lnTo>
                  <a:lnTo>
                    <a:pt x="65" y="242"/>
                  </a:lnTo>
                  <a:lnTo>
                    <a:pt x="56" y="234"/>
                  </a:lnTo>
                  <a:lnTo>
                    <a:pt x="48" y="225"/>
                  </a:lnTo>
                  <a:lnTo>
                    <a:pt x="40" y="215"/>
                  </a:lnTo>
                  <a:lnTo>
                    <a:pt x="34" y="205"/>
                  </a:lnTo>
                  <a:lnTo>
                    <a:pt x="29" y="194"/>
                  </a:lnTo>
                  <a:lnTo>
                    <a:pt x="25" y="182"/>
                  </a:lnTo>
                  <a:lnTo>
                    <a:pt x="21" y="171"/>
                  </a:lnTo>
                  <a:lnTo>
                    <a:pt x="19" y="157"/>
                  </a:lnTo>
                  <a:lnTo>
                    <a:pt x="19" y="145"/>
                  </a:lnTo>
                  <a:lnTo>
                    <a:pt x="19" y="145"/>
                  </a:lnTo>
                  <a:lnTo>
                    <a:pt x="19" y="132"/>
                  </a:lnTo>
                  <a:lnTo>
                    <a:pt x="21" y="118"/>
                  </a:lnTo>
                  <a:lnTo>
                    <a:pt x="25" y="107"/>
                  </a:lnTo>
                  <a:lnTo>
                    <a:pt x="29" y="95"/>
                  </a:lnTo>
                  <a:lnTo>
                    <a:pt x="34" y="84"/>
                  </a:lnTo>
                  <a:lnTo>
                    <a:pt x="40" y="74"/>
                  </a:lnTo>
                  <a:lnTo>
                    <a:pt x="48" y="64"/>
                  </a:lnTo>
                  <a:lnTo>
                    <a:pt x="56" y="54"/>
                  </a:lnTo>
                  <a:lnTo>
                    <a:pt x="65" y="47"/>
                  </a:lnTo>
                  <a:lnTo>
                    <a:pt x="75" y="39"/>
                  </a:lnTo>
                  <a:lnTo>
                    <a:pt x="85" y="33"/>
                  </a:lnTo>
                  <a:lnTo>
                    <a:pt x="96" y="27"/>
                  </a:lnTo>
                  <a:lnTo>
                    <a:pt x="108" y="24"/>
                  </a:lnTo>
                  <a:lnTo>
                    <a:pt x="120" y="22"/>
                  </a:lnTo>
                  <a:lnTo>
                    <a:pt x="131" y="20"/>
                  </a:lnTo>
                  <a:lnTo>
                    <a:pt x="145" y="18"/>
                  </a:lnTo>
                  <a:lnTo>
                    <a:pt x="145" y="18"/>
                  </a:lnTo>
                  <a:lnTo>
                    <a:pt x="158" y="20"/>
                  </a:lnTo>
                  <a:lnTo>
                    <a:pt x="170" y="22"/>
                  </a:lnTo>
                  <a:lnTo>
                    <a:pt x="181" y="24"/>
                  </a:lnTo>
                  <a:lnTo>
                    <a:pt x="193" y="27"/>
                  </a:lnTo>
                  <a:lnTo>
                    <a:pt x="205" y="33"/>
                  </a:lnTo>
                  <a:lnTo>
                    <a:pt x="216" y="39"/>
                  </a:lnTo>
                  <a:lnTo>
                    <a:pt x="226" y="47"/>
                  </a:lnTo>
                  <a:lnTo>
                    <a:pt x="234" y="54"/>
                  </a:lnTo>
                  <a:lnTo>
                    <a:pt x="241" y="64"/>
                  </a:lnTo>
                  <a:lnTo>
                    <a:pt x="249" y="74"/>
                  </a:lnTo>
                  <a:lnTo>
                    <a:pt x="257" y="84"/>
                  </a:lnTo>
                  <a:lnTo>
                    <a:pt x="261" y="95"/>
                  </a:lnTo>
                  <a:lnTo>
                    <a:pt x="265" y="107"/>
                  </a:lnTo>
                  <a:lnTo>
                    <a:pt x="268" y="118"/>
                  </a:lnTo>
                  <a:lnTo>
                    <a:pt x="270" y="132"/>
                  </a:lnTo>
                  <a:lnTo>
                    <a:pt x="270" y="145"/>
                  </a:lnTo>
                  <a:lnTo>
                    <a:pt x="270" y="145"/>
                  </a:lnTo>
                  <a:lnTo>
                    <a:pt x="270" y="157"/>
                  </a:lnTo>
                  <a:lnTo>
                    <a:pt x="268" y="171"/>
                  </a:lnTo>
                  <a:lnTo>
                    <a:pt x="265" y="182"/>
                  </a:lnTo>
                  <a:lnTo>
                    <a:pt x="261" y="194"/>
                  </a:lnTo>
                  <a:lnTo>
                    <a:pt x="257" y="205"/>
                  </a:lnTo>
                  <a:lnTo>
                    <a:pt x="249" y="215"/>
                  </a:lnTo>
                  <a:lnTo>
                    <a:pt x="241" y="225"/>
                  </a:lnTo>
                  <a:lnTo>
                    <a:pt x="234" y="234"/>
                  </a:lnTo>
                  <a:lnTo>
                    <a:pt x="226" y="242"/>
                  </a:lnTo>
                  <a:lnTo>
                    <a:pt x="216" y="250"/>
                  </a:lnTo>
                  <a:lnTo>
                    <a:pt x="205" y="256"/>
                  </a:lnTo>
                  <a:lnTo>
                    <a:pt x="193" y="262"/>
                  </a:lnTo>
                  <a:lnTo>
                    <a:pt x="181" y="265"/>
                  </a:lnTo>
                  <a:lnTo>
                    <a:pt x="170" y="269"/>
                  </a:lnTo>
                  <a:lnTo>
                    <a:pt x="158" y="271"/>
                  </a:lnTo>
                  <a:lnTo>
                    <a:pt x="145" y="271"/>
                  </a:lnTo>
                  <a:close/>
                  <a:moveTo>
                    <a:pt x="145" y="289"/>
                  </a:moveTo>
                  <a:lnTo>
                    <a:pt x="145" y="289"/>
                  </a:lnTo>
                  <a:lnTo>
                    <a:pt x="160" y="289"/>
                  </a:lnTo>
                  <a:lnTo>
                    <a:pt x="174" y="287"/>
                  </a:lnTo>
                  <a:lnTo>
                    <a:pt x="187" y="283"/>
                  </a:lnTo>
                  <a:lnTo>
                    <a:pt x="201" y="279"/>
                  </a:lnTo>
                  <a:lnTo>
                    <a:pt x="214" y="271"/>
                  </a:lnTo>
                  <a:lnTo>
                    <a:pt x="226" y="265"/>
                  </a:lnTo>
                  <a:lnTo>
                    <a:pt x="238" y="256"/>
                  </a:lnTo>
                  <a:lnTo>
                    <a:pt x="247" y="246"/>
                  </a:lnTo>
                  <a:lnTo>
                    <a:pt x="257" y="236"/>
                  </a:lnTo>
                  <a:lnTo>
                    <a:pt x="265" y="225"/>
                  </a:lnTo>
                  <a:lnTo>
                    <a:pt x="272" y="213"/>
                  </a:lnTo>
                  <a:lnTo>
                    <a:pt x="278" y="202"/>
                  </a:lnTo>
                  <a:lnTo>
                    <a:pt x="284" y="188"/>
                  </a:lnTo>
                  <a:lnTo>
                    <a:pt x="286" y="174"/>
                  </a:lnTo>
                  <a:lnTo>
                    <a:pt x="290" y="159"/>
                  </a:lnTo>
                  <a:lnTo>
                    <a:pt x="290" y="145"/>
                  </a:lnTo>
                  <a:lnTo>
                    <a:pt x="290" y="145"/>
                  </a:lnTo>
                  <a:lnTo>
                    <a:pt x="290" y="130"/>
                  </a:lnTo>
                  <a:lnTo>
                    <a:pt x="286" y="114"/>
                  </a:lnTo>
                  <a:lnTo>
                    <a:pt x="284" y="101"/>
                  </a:lnTo>
                  <a:lnTo>
                    <a:pt x="278" y="87"/>
                  </a:lnTo>
                  <a:lnTo>
                    <a:pt x="272" y="76"/>
                  </a:lnTo>
                  <a:lnTo>
                    <a:pt x="265" y="64"/>
                  </a:lnTo>
                  <a:lnTo>
                    <a:pt x="257" y="53"/>
                  </a:lnTo>
                  <a:lnTo>
                    <a:pt x="247" y="43"/>
                  </a:lnTo>
                  <a:lnTo>
                    <a:pt x="238" y="33"/>
                  </a:lnTo>
                  <a:lnTo>
                    <a:pt x="226" y="24"/>
                  </a:lnTo>
                  <a:lnTo>
                    <a:pt x="214" y="18"/>
                  </a:lnTo>
                  <a:lnTo>
                    <a:pt x="201" y="12"/>
                  </a:lnTo>
                  <a:lnTo>
                    <a:pt x="187" y="6"/>
                  </a:lnTo>
                  <a:lnTo>
                    <a:pt x="174" y="2"/>
                  </a:lnTo>
                  <a:lnTo>
                    <a:pt x="160" y="0"/>
                  </a:lnTo>
                  <a:lnTo>
                    <a:pt x="145" y="0"/>
                  </a:lnTo>
                  <a:lnTo>
                    <a:pt x="145" y="0"/>
                  </a:lnTo>
                  <a:lnTo>
                    <a:pt x="129" y="0"/>
                  </a:lnTo>
                  <a:lnTo>
                    <a:pt x="116" y="2"/>
                  </a:lnTo>
                  <a:lnTo>
                    <a:pt x="102" y="6"/>
                  </a:lnTo>
                  <a:lnTo>
                    <a:pt x="89" y="12"/>
                  </a:lnTo>
                  <a:lnTo>
                    <a:pt x="75" y="18"/>
                  </a:lnTo>
                  <a:lnTo>
                    <a:pt x="63" y="24"/>
                  </a:lnTo>
                  <a:lnTo>
                    <a:pt x="52" y="33"/>
                  </a:lnTo>
                  <a:lnTo>
                    <a:pt x="42" y="43"/>
                  </a:lnTo>
                  <a:lnTo>
                    <a:pt x="32" y="53"/>
                  </a:lnTo>
                  <a:lnTo>
                    <a:pt x="25" y="64"/>
                  </a:lnTo>
                  <a:lnTo>
                    <a:pt x="17" y="76"/>
                  </a:lnTo>
                  <a:lnTo>
                    <a:pt x="11" y="87"/>
                  </a:lnTo>
                  <a:lnTo>
                    <a:pt x="7" y="101"/>
                  </a:lnTo>
                  <a:lnTo>
                    <a:pt x="3" y="114"/>
                  </a:lnTo>
                  <a:lnTo>
                    <a:pt x="2" y="130"/>
                  </a:lnTo>
                  <a:lnTo>
                    <a:pt x="0" y="145"/>
                  </a:lnTo>
                  <a:lnTo>
                    <a:pt x="0" y="145"/>
                  </a:lnTo>
                  <a:lnTo>
                    <a:pt x="2" y="159"/>
                  </a:lnTo>
                  <a:lnTo>
                    <a:pt x="3" y="174"/>
                  </a:lnTo>
                  <a:lnTo>
                    <a:pt x="7" y="188"/>
                  </a:lnTo>
                  <a:lnTo>
                    <a:pt x="11" y="202"/>
                  </a:lnTo>
                  <a:lnTo>
                    <a:pt x="17" y="213"/>
                  </a:lnTo>
                  <a:lnTo>
                    <a:pt x="25" y="225"/>
                  </a:lnTo>
                  <a:lnTo>
                    <a:pt x="32" y="236"/>
                  </a:lnTo>
                  <a:lnTo>
                    <a:pt x="42" y="246"/>
                  </a:lnTo>
                  <a:lnTo>
                    <a:pt x="52" y="256"/>
                  </a:lnTo>
                  <a:lnTo>
                    <a:pt x="63" y="265"/>
                  </a:lnTo>
                  <a:lnTo>
                    <a:pt x="75" y="271"/>
                  </a:lnTo>
                  <a:lnTo>
                    <a:pt x="89" y="279"/>
                  </a:lnTo>
                  <a:lnTo>
                    <a:pt x="102" y="283"/>
                  </a:lnTo>
                  <a:lnTo>
                    <a:pt x="116" y="287"/>
                  </a:lnTo>
                  <a:lnTo>
                    <a:pt x="129" y="289"/>
                  </a:lnTo>
                  <a:lnTo>
                    <a:pt x="145" y="28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7" name="Donut 4"/>
            <p:cNvSpPr/>
            <p:nvPr/>
          </p:nvSpPr>
          <p:spPr bwMode="auto">
            <a:xfrm>
              <a:off x="7987541" y="2846768"/>
              <a:ext cx="541537" cy="548471"/>
            </a:xfrm>
            <a:custGeom>
              <a:avLst/>
              <a:gdLst/>
              <a:ahLst/>
              <a:cxnLst/>
              <a:rect l="l" t="t" r="r" b="b"/>
              <a:pathLst>
                <a:path w="3847519" h="3896767">
                  <a:moveTo>
                    <a:pt x="1225516" y="776187"/>
                  </a:moveTo>
                  <a:lnTo>
                    <a:pt x="1622331" y="776187"/>
                  </a:lnTo>
                  <a:lnTo>
                    <a:pt x="1622331" y="1224760"/>
                  </a:lnTo>
                  <a:lnTo>
                    <a:pt x="2070905" y="1224760"/>
                  </a:lnTo>
                  <a:lnTo>
                    <a:pt x="2070905" y="1621575"/>
                  </a:lnTo>
                  <a:lnTo>
                    <a:pt x="1622331" y="1621575"/>
                  </a:lnTo>
                  <a:lnTo>
                    <a:pt x="1622331" y="2070149"/>
                  </a:lnTo>
                  <a:lnTo>
                    <a:pt x="1225516" y="2070149"/>
                  </a:lnTo>
                  <a:lnTo>
                    <a:pt x="1225516" y="1621575"/>
                  </a:lnTo>
                  <a:lnTo>
                    <a:pt x="776943" y="1621575"/>
                  </a:lnTo>
                  <a:lnTo>
                    <a:pt x="776943" y="1224760"/>
                  </a:lnTo>
                  <a:lnTo>
                    <a:pt x="1225516" y="1224760"/>
                  </a:lnTo>
                  <a:close/>
                  <a:moveTo>
                    <a:pt x="1423924" y="241540"/>
                  </a:moveTo>
                  <a:cubicBezTo>
                    <a:pt x="770911" y="241540"/>
                    <a:pt x="241540" y="770573"/>
                    <a:pt x="241540" y="1423168"/>
                  </a:cubicBezTo>
                  <a:cubicBezTo>
                    <a:pt x="241540" y="2075763"/>
                    <a:pt x="770911" y="2604796"/>
                    <a:pt x="1423924" y="2604796"/>
                  </a:cubicBezTo>
                  <a:cubicBezTo>
                    <a:pt x="2076937" y="2604796"/>
                    <a:pt x="2606308" y="2075763"/>
                    <a:pt x="2606308" y="1423168"/>
                  </a:cubicBezTo>
                  <a:cubicBezTo>
                    <a:pt x="2606308" y="770573"/>
                    <a:pt x="2076937" y="241540"/>
                    <a:pt x="1423924" y="241540"/>
                  </a:cubicBezTo>
                  <a:close/>
                  <a:moveTo>
                    <a:pt x="1423924" y="0"/>
                  </a:moveTo>
                  <a:cubicBezTo>
                    <a:pt x="2210336" y="0"/>
                    <a:pt x="2847848" y="637174"/>
                    <a:pt x="2847848" y="1423168"/>
                  </a:cubicBezTo>
                  <a:cubicBezTo>
                    <a:pt x="2847848" y="1745525"/>
                    <a:pt x="2740616" y="2042851"/>
                    <a:pt x="2558572" y="2280480"/>
                  </a:cubicBezTo>
                  <a:lnTo>
                    <a:pt x="2641865" y="2366402"/>
                  </a:lnTo>
                  <a:lnTo>
                    <a:pt x="2819718" y="2318519"/>
                  </a:lnTo>
                  <a:lnTo>
                    <a:pt x="3838893" y="3335312"/>
                  </a:lnTo>
                  <a:cubicBezTo>
                    <a:pt x="3851592" y="3503588"/>
                    <a:pt x="3921443" y="3983806"/>
                    <a:pt x="3291205" y="3883000"/>
                  </a:cubicBezTo>
                  <a:lnTo>
                    <a:pt x="2262505" y="2882875"/>
                  </a:lnTo>
                  <a:lnTo>
                    <a:pt x="2321688" y="2681654"/>
                  </a:lnTo>
                  <a:lnTo>
                    <a:pt x="2221732" y="2602027"/>
                  </a:lnTo>
                  <a:cubicBezTo>
                    <a:pt x="1994188" y="2756277"/>
                    <a:pt x="1719579" y="2846336"/>
                    <a:pt x="1423924" y="2846336"/>
                  </a:cubicBezTo>
                  <a:cubicBezTo>
                    <a:pt x="637512" y="2846336"/>
                    <a:pt x="0" y="2209162"/>
                    <a:pt x="0" y="1423168"/>
                  </a:cubicBezTo>
                  <a:cubicBezTo>
                    <a:pt x="0" y="637174"/>
                    <a:pt x="637512" y="0"/>
                    <a:pt x="1423924"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11"/>
            <p:cNvSpPr/>
            <p:nvPr/>
          </p:nvSpPr>
          <p:spPr bwMode="auto">
            <a:xfrm>
              <a:off x="7408915" y="3861815"/>
              <a:ext cx="321474" cy="579312"/>
            </a:xfrm>
            <a:custGeom>
              <a:avLst/>
              <a:gdLst>
                <a:gd name="connsiteX0" fmla="*/ 1469119 w 3408136"/>
                <a:gd name="connsiteY0" fmla="*/ 5547323 h 6141667"/>
                <a:gd name="connsiteX1" fmla="*/ 1418318 w 3408136"/>
                <a:gd name="connsiteY1" fmla="*/ 5598124 h 6141667"/>
                <a:gd name="connsiteX2" fmla="*/ 1418318 w 3408136"/>
                <a:gd name="connsiteY2" fmla="*/ 5801322 h 6141667"/>
                <a:gd name="connsiteX3" fmla="*/ 1469119 w 3408136"/>
                <a:gd name="connsiteY3" fmla="*/ 5852123 h 6141667"/>
                <a:gd name="connsiteX4" fmla="*/ 1939017 w 3408136"/>
                <a:gd name="connsiteY4" fmla="*/ 5852123 h 6141667"/>
                <a:gd name="connsiteX5" fmla="*/ 1989818 w 3408136"/>
                <a:gd name="connsiteY5" fmla="*/ 5801322 h 6141667"/>
                <a:gd name="connsiteX6" fmla="*/ 1989818 w 3408136"/>
                <a:gd name="connsiteY6" fmla="*/ 5598124 h 6141667"/>
                <a:gd name="connsiteX7" fmla="*/ 1939017 w 3408136"/>
                <a:gd name="connsiteY7" fmla="*/ 5547323 h 6141667"/>
                <a:gd name="connsiteX8" fmla="*/ 241826 w 3408136"/>
                <a:gd name="connsiteY8" fmla="*/ 368599 h 6141667"/>
                <a:gd name="connsiteX9" fmla="*/ 210796 w 3408136"/>
                <a:gd name="connsiteY9" fmla="*/ 399629 h 6141667"/>
                <a:gd name="connsiteX10" fmla="*/ 210796 w 3408136"/>
                <a:gd name="connsiteY10" fmla="*/ 5376294 h 6141667"/>
                <a:gd name="connsiteX11" fmla="*/ 241826 w 3408136"/>
                <a:gd name="connsiteY11" fmla="*/ 5407324 h 6141667"/>
                <a:gd name="connsiteX12" fmla="*/ 3166310 w 3408136"/>
                <a:gd name="connsiteY12" fmla="*/ 5407324 h 6141667"/>
                <a:gd name="connsiteX13" fmla="*/ 3197340 w 3408136"/>
                <a:gd name="connsiteY13" fmla="*/ 5376294 h 6141667"/>
                <a:gd name="connsiteX14" fmla="*/ 3197340 w 3408136"/>
                <a:gd name="connsiteY14" fmla="*/ 399629 h 6141667"/>
                <a:gd name="connsiteX15" fmla="*/ 3166310 w 3408136"/>
                <a:gd name="connsiteY15" fmla="*/ 368599 h 6141667"/>
                <a:gd name="connsiteX16" fmla="*/ 1469572 w 3408136"/>
                <a:gd name="connsiteY16" fmla="*/ 159049 h 6141667"/>
                <a:gd name="connsiteX17" fmla="*/ 1456872 w 3408136"/>
                <a:gd name="connsiteY17" fmla="*/ 171749 h 6141667"/>
                <a:gd name="connsiteX18" fmla="*/ 1456872 w 3408136"/>
                <a:gd name="connsiteY18" fmla="*/ 222549 h 6141667"/>
                <a:gd name="connsiteX19" fmla="*/ 1469572 w 3408136"/>
                <a:gd name="connsiteY19" fmla="*/ 235249 h 6141667"/>
                <a:gd name="connsiteX20" fmla="*/ 1938565 w 3408136"/>
                <a:gd name="connsiteY20" fmla="*/ 235249 h 6141667"/>
                <a:gd name="connsiteX21" fmla="*/ 1951265 w 3408136"/>
                <a:gd name="connsiteY21" fmla="*/ 222549 h 6141667"/>
                <a:gd name="connsiteX22" fmla="*/ 1951265 w 3408136"/>
                <a:gd name="connsiteY22" fmla="*/ 171749 h 6141667"/>
                <a:gd name="connsiteX23" fmla="*/ 1938565 w 3408136"/>
                <a:gd name="connsiteY23" fmla="*/ 159049 h 6141667"/>
                <a:gd name="connsiteX24" fmla="*/ 2750911 w 3408136"/>
                <a:gd name="connsiteY24" fmla="*/ 111424 h 6141667"/>
                <a:gd name="connsiteX25" fmla="*/ 2674711 w 3408136"/>
                <a:gd name="connsiteY25" fmla="*/ 187624 h 6141667"/>
                <a:gd name="connsiteX26" fmla="*/ 2750911 w 3408136"/>
                <a:gd name="connsiteY26" fmla="*/ 263824 h 6141667"/>
                <a:gd name="connsiteX27" fmla="*/ 2827111 w 3408136"/>
                <a:gd name="connsiteY27" fmla="*/ 187624 h 6141667"/>
                <a:gd name="connsiteX28" fmla="*/ 2750911 w 3408136"/>
                <a:gd name="connsiteY28" fmla="*/ 111424 h 6141667"/>
                <a:gd name="connsiteX29" fmla="*/ 185710 w 3408136"/>
                <a:gd name="connsiteY29" fmla="*/ 0 h 6141667"/>
                <a:gd name="connsiteX30" fmla="*/ 3222426 w 3408136"/>
                <a:gd name="connsiteY30" fmla="*/ 0 h 6141667"/>
                <a:gd name="connsiteX31" fmla="*/ 3408136 w 3408136"/>
                <a:gd name="connsiteY31" fmla="*/ 174144 h 6141667"/>
                <a:gd name="connsiteX32" fmla="*/ 3408136 w 3408136"/>
                <a:gd name="connsiteY32" fmla="*/ 5967524 h 6141667"/>
                <a:gd name="connsiteX33" fmla="*/ 3222426 w 3408136"/>
                <a:gd name="connsiteY33" fmla="*/ 6141667 h 6141667"/>
                <a:gd name="connsiteX34" fmla="*/ 185710 w 3408136"/>
                <a:gd name="connsiteY34" fmla="*/ 6141667 h 6141667"/>
                <a:gd name="connsiteX35" fmla="*/ 0 w 3408136"/>
                <a:gd name="connsiteY35" fmla="*/ 5967524 h 6141667"/>
                <a:gd name="connsiteX36" fmla="*/ 0 w 3408136"/>
                <a:gd name="connsiteY36" fmla="*/ 174144 h 6141667"/>
                <a:gd name="connsiteX37" fmla="*/ 185710 w 3408136"/>
                <a:gd name="connsiteY37" fmla="*/ 0 h 614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08136" h="6141667">
                  <a:moveTo>
                    <a:pt x="1469119" y="5547323"/>
                  </a:moveTo>
                  <a:cubicBezTo>
                    <a:pt x="1441062" y="5547323"/>
                    <a:pt x="1418318" y="5570067"/>
                    <a:pt x="1418318" y="5598124"/>
                  </a:cubicBezTo>
                  <a:lnTo>
                    <a:pt x="1418318" y="5801322"/>
                  </a:lnTo>
                  <a:cubicBezTo>
                    <a:pt x="1418318" y="5829379"/>
                    <a:pt x="1441062" y="5852123"/>
                    <a:pt x="1469119" y="5852123"/>
                  </a:cubicBezTo>
                  <a:lnTo>
                    <a:pt x="1939017" y="5852123"/>
                  </a:lnTo>
                  <a:cubicBezTo>
                    <a:pt x="1967074" y="5852123"/>
                    <a:pt x="1989818" y="5829379"/>
                    <a:pt x="1989818" y="5801322"/>
                  </a:cubicBezTo>
                  <a:lnTo>
                    <a:pt x="1989818" y="5598124"/>
                  </a:lnTo>
                  <a:cubicBezTo>
                    <a:pt x="1989818" y="5570067"/>
                    <a:pt x="1967074" y="5547323"/>
                    <a:pt x="1939017" y="5547323"/>
                  </a:cubicBezTo>
                  <a:close/>
                  <a:moveTo>
                    <a:pt x="241826" y="368599"/>
                  </a:moveTo>
                  <a:cubicBezTo>
                    <a:pt x="224689" y="368599"/>
                    <a:pt x="210796" y="382492"/>
                    <a:pt x="210796" y="399629"/>
                  </a:cubicBezTo>
                  <a:lnTo>
                    <a:pt x="210796" y="5376294"/>
                  </a:lnTo>
                  <a:cubicBezTo>
                    <a:pt x="210796" y="5393431"/>
                    <a:pt x="224689" y="5407324"/>
                    <a:pt x="241826" y="5407324"/>
                  </a:cubicBezTo>
                  <a:lnTo>
                    <a:pt x="3166310" y="5407324"/>
                  </a:lnTo>
                  <a:cubicBezTo>
                    <a:pt x="3183447" y="5407324"/>
                    <a:pt x="3197340" y="5393431"/>
                    <a:pt x="3197340" y="5376294"/>
                  </a:cubicBezTo>
                  <a:lnTo>
                    <a:pt x="3197340" y="399629"/>
                  </a:lnTo>
                  <a:cubicBezTo>
                    <a:pt x="3197340" y="382492"/>
                    <a:pt x="3183447" y="368599"/>
                    <a:pt x="3166310" y="368599"/>
                  </a:cubicBezTo>
                  <a:close/>
                  <a:moveTo>
                    <a:pt x="1469572" y="159049"/>
                  </a:moveTo>
                  <a:cubicBezTo>
                    <a:pt x="1462558" y="159049"/>
                    <a:pt x="1456872" y="164735"/>
                    <a:pt x="1456872" y="171749"/>
                  </a:cubicBezTo>
                  <a:lnTo>
                    <a:pt x="1456872" y="222549"/>
                  </a:lnTo>
                  <a:cubicBezTo>
                    <a:pt x="1456872" y="229563"/>
                    <a:pt x="1462558" y="235249"/>
                    <a:pt x="1469572" y="235249"/>
                  </a:cubicBezTo>
                  <a:lnTo>
                    <a:pt x="1938565" y="235249"/>
                  </a:lnTo>
                  <a:cubicBezTo>
                    <a:pt x="1945579" y="235249"/>
                    <a:pt x="1951265" y="229563"/>
                    <a:pt x="1951265" y="222549"/>
                  </a:cubicBezTo>
                  <a:lnTo>
                    <a:pt x="1951265" y="171749"/>
                  </a:lnTo>
                  <a:cubicBezTo>
                    <a:pt x="1951265" y="164735"/>
                    <a:pt x="1945579" y="159049"/>
                    <a:pt x="1938565" y="159049"/>
                  </a:cubicBezTo>
                  <a:close/>
                  <a:moveTo>
                    <a:pt x="2750911" y="111424"/>
                  </a:moveTo>
                  <a:cubicBezTo>
                    <a:pt x="2708827" y="111424"/>
                    <a:pt x="2674711" y="145540"/>
                    <a:pt x="2674711" y="187624"/>
                  </a:cubicBezTo>
                  <a:cubicBezTo>
                    <a:pt x="2674711" y="229708"/>
                    <a:pt x="2708827" y="263824"/>
                    <a:pt x="2750911" y="263824"/>
                  </a:cubicBezTo>
                  <a:cubicBezTo>
                    <a:pt x="2792995" y="263824"/>
                    <a:pt x="2827111" y="229708"/>
                    <a:pt x="2827111" y="187624"/>
                  </a:cubicBezTo>
                  <a:cubicBezTo>
                    <a:pt x="2827111" y="145540"/>
                    <a:pt x="2792995" y="111424"/>
                    <a:pt x="2750911" y="111424"/>
                  </a:cubicBezTo>
                  <a:close/>
                  <a:moveTo>
                    <a:pt x="185710" y="0"/>
                  </a:moveTo>
                  <a:lnTo>
                    <a:pt x="3222426" y="0"/>
                  </a:lnTo>
                  <a:cubicBezTo>
                    <a:pt x="3324990" y="0"/>
                    <a:pt x="3408136" y="77968"/>
                    <a:pt x="3408136" y="174144"/>
                  </a:cubicBezTo>
                  <a:lnTo>
                    <a:pt x="3408136" y="5967524"/>
                  </a:lnTo>
                  <a:cubicBezTo>
                    <a:pt x="3408136" y="6063700"/>
                    <a:pt x="3324990" y="6141667"/>
                    <a:pt x="3222426" y="6141667"/>
                  </a:cubicBezTo>
                  <a:lnTo>
                    <a:pt x="185710" y="6141667"/>
                  </a:lnTo>
                  <a:cubicBezTo>
                    <a:pt x="83146" y="6141667"/>
                    <a:pt x="0" y="6063700"/>
                    <a:pt x="0" y="5967524"/>
                  </a:cubicBezTo>
                  <a:lnTo>
                    <a:pt x="0" y="174144"/>
                  </a:lnTo>
                  <a:cubicBezTo>
                    <a:pt x="0" y="77968"/>
                    <a:pt x="83146" y="0"/>
                    <a:pt x="185710" y="0"/>
                  </a:cubicBezTo>
                  <a:close/>
                </a:path>
              </a:pathLst>
            </a:custGeom>
            <a:solidFill>
              <a:srgbClr val="00BCF2"/>
            </a:solidFill>
            <a:ln>
              <a:noFill/>
            </a:ln>
            <a:extLst/>
          </p:spPr>
          <p:txBody>
            <a:bodyPr vert="horz" wrap="square" lIns="89630" tIns="44814" rIns="89630" bIns="44814" numCol="1" rtlCol="0" anchor="t" anchorCtr="0" compatLnSpc="1">
              <a:prstTxWarp prst="textNoShape">
                <a:avLst/>
              </a:prstTxWarp>
              <a:noAutofit/>
            </a:bodyPr>
            <a:lstStyle/>
            <a:p>
              <a:pPr marL="0" marR="0" lvl="0" indent="0" algn="ctr" defTabSz="896214" rtl="0" eaLnBrk="1" fontAlgn="auto" latinLnBrk="1"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FFFFFF"/>
                </a:solidFill>
                <a:effectLst/>
                <a:uLnTx/>
                <a:uFillTx/>
                <a:latin typeface="Segoe UI"/>
                <a:ea typeface="+mn-ea"/>
                <a:cs typeface="+mn-cs"/>
              </a:endParaRPr>
            </a:p>
          </p:txBody>
        </p:sp>
        <p:sp>
          <p:nvSpPr>
            <p:cNvPr id="39" name="Rectangle 51"/>
            <p:cNvSpPr/>
            <p:nvPr/>
          </p:nvSpPr>
          <p:spPr>
            <a:xfrm>
              <a:off x="8293106" y="124517"/>
              <a:ext cx="325044" cy="579229"/>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40" name="Block Arc 100"/>
            <p:cNvSpPr/>
            <p:nvPr/>
          </p:nvSpPr>
          <p:spPr bwMode="auto">
            <a:xfrm rot="18900000" flipH="1">
              <a:off x="10129156" y="2238013"/>
              <a:ext cx="486052" cy="738366"/>
            </a:xfrm>
            <a:custGeom>
              <a:avLst/>
              <a:gdLst/>
              <a:ahLst/>
              <a:cxnLst/>
              <a:rect l="l" t="t" r="r" b="b"/>
              <a:pathLst>
                <a:path w="3205217" h="4869077">
                  <a:moveTo>
                    <a:pt x="2338541" y="4336801"/>
                  </a:moveTo>
                  <a:lnTo>
                    <a:pt x="2501107" y="4586632"/>
                  </a:lnTo>
                  <a:lnTo>
                    <a:pt x="2571649" y="4317404"/>
                  </a:lnTo>
                  <a:lnTo>
                    <a:pt x="2565239" y="4309605"/>
                  </a:lnTo>
                  <a:close/>
                  <a:moveTo>
                    <a:pt x="2626874" y="3985187"/>
                  </a:moveTo>
                  <a:lnTo>
                    <a:pt x="2643469" y="4210881"/>
                  </a:lnTo>
                  <a:lnTo>
                    <a:pt x="2652352" y="4215678"/>
                  </a:lnTo>
                  <a:lnTo>
                    <a:pt x="2900870" y="4095921"/>
                  </a:lnTo>
                  <a:close/>
                  <a:moveTo>
                    <a:pt x="2380812" y="4018176"/>
                  </a:moveTo>
                  <a:cubicBezTo>
                    <a:pt x="2385244" y="4035072"/>
                    <a:pt x="2380572" y="4052816"/>
                    <a:pt x="2368867" y="4067026"/>
                  </a:cubicBezTo>
                  <a:cubicBezTo>
                    <a:pt x="2357708" y="4080575"/>
                    <a:pt x="2342171" y="4088465"/>
                    <a:pt x="2325749" y="4089980"/>
                  </a:cubicBezTo>
                  <a:lnTo>
                    <a:pt x="2320902" y="4292684"/>
                  </a:lnTo>
                  <a:lnTo>
                    <a:pt x="2321009" y="4292858"/>
                  </a:lnTo>
                  <a:lnTo>
                    <a:pt x="2554349" y="4264865"/>
                  </a:lnTo>
                  <a:cubicBezTo>
                    <a:pt x="2554285" y="4252103"/>
                    <a:pt x="2559089" y="4239748"/>
                    <a:pt x="2567692" y="4229303"/>
                  </a:cubicBezTo>
                  <a:cubicBezTo>
                    <a:pt x="2575706" y="4219574"/>
                    <a:pt x="2585976" y="4212762"/>
                    <a:pt x="2597569" y="4210091"/>
                  </a:cubicBezTo>
                  <a:lnTo>
                    <a:pt x="2580251" y="3974570"/>
                  </a:lnTo>
                  <a:cubicBezTo>
                    <a:pt x="2580051" y="3974563"/>
                    <a:pt x="2579904" y="3974470"/>
                    <a:pt x="2579758" y="3974376"/>
                  </a:cubicBezTo>
                  <a:close/>
                  <a:moveTo>
                    <a:pt x="2157580" y="4042204"/>
                  </a:moveTo>
                  <a:cubicBezTo>
                    <a:pt x="2157200" y="4045975"/>
                    <a:pt x="2155457" y="4049193"/>
                    <a:pt x="2153403" y="4052282"/>
                  </a:cubicBezTo>
                  <a:lnTo>
                    <a:pt x="2276399" y="4241301"/>
                  </a:lnTo>
                  <a:lnTo>
                    <a:pt x="2280290" y="4078535"/>
                  </a:lnTo>
                  <a:cubicBezTo>
                    <a:pt x="2277592" y="4078046"/>
                    <a:pt x="2275536" y="4076533"/>
                    <a:pt x="2273542" y="4074890"/>
                  </a:cubicBezTo>
                  <a:lnTo>
                    <a:pt x="2269899" y="4069407"/>
                  </a:lnTo>
                  <a:cubicBezTo>
                    <a:pt x="2261639" y="4062699"/>
                    <a:pt x="2255813" y="4054106"/>
                    <a:pt x="2252986" y="4044485"/>
                  </a:cubicBezTo>
                  <a:close/>
                  <a:moveTo>
                    <a:pt x="2302907" y="3861978"/>
                  </a:moveTo>
                  <a:lnTo>
                    <a:pt x="2323512" y="3955567"/>
                  </a:lnTo>
                  <a:cubicBezTo>
                    <a:pt x="2335568" y="3956285"/>
                    <a:pt x="2347182" y="3961298"/>
                    <a:pt x="2357214" y="3969560"/>
                  </a:cubicBezTo>
                  <a:lnTo>
                    <a:pt x="2361891" y="3975527"/>
                  </a:lnTo>
                  <a:lnTo>
                    <a:pt x="2517957" y="3941168"/>
                  </a:lnTo>
                  <a:lnTo>
                    <a:pt x="2310388" y="3857279"/>
                  </a:lnTo>
                  <a:close/>
                  <a:moveTo>
                    <a:pt x="2034990" y="3870305"/>
                  </a:moveTo>
                  <a:lnTo>
                    <a:pt x="2086891" y="3950066"/>
                  </a:lnTo>
                  <a:cubicBezTo>
                    <a:pt x="2104679" y="3947743"/>
                    <a:pt x="2123450" y="3952809"/>
                    <a:pt x="2138608" y="3965294"/>
                  </a:cubicBezTo>
                  <a:cubicBezTo>
                    <a:pt x="2148908" y="3973778"/>
                    <a:pt x="2156166" y="3984556"/>
                    <a:pt x="2159162" y="3996509"/>
                  </a:cubicBezTo>
                  <a:lnTo>
                    <a:pt x="2250698" y="3998697"/>
                  </a:lnTo>
                  <a:lnTo>
                    <a:pt x="2261888" y="3977424"/>
                  </a:lnTo>
                  <a:lnTo>
                    <a:pt x="2278559" y="3964025"/>
                  </a:lnTo>
                  <a:lnTo>
                    <a:pt x="2258380" y="3872369"/>
                  </a:lnTo>
                  <a:cubicBezTo>
                    <a:pt x="2246080" y="3871674"/>
                    <a:pt x="2234102" y="3866615"/>
                    <a:pt x="2223794" y="3858125"/>
                  </a:cubicBezTo>
                  <a:cubicBezTo>
                    <a:pt x="2209163" y="3846074"/>
                    <a:pt x="2200672" y="3829395"/>
                    <a:pt x="2198782" y="3812174"/>
                  </a:cubicBezTo>
                  <a:lnTo>
                    <a:pt x="2111920" y="3777069"/>
                  </a:lnTo>
                  <a:cubicBezTo>
                    <a:pt x="2105341" y="3795065"/>
                    <a:pt x="2094577" y="3812899"/>
                    <a:pt x="2080735" y="3829705"/>
                  </a:cubicBezTo>
                  <a:cubicBezTo>
                    <a:pt x="2066880" y="3846526"/>
                    <a:pt x="2051424" y="3860517"/>
                    <a:pt x="2034990" y="3870305"/>
                  </a:cubicBezTo>
                  <a:close/>
                  <a:moveTo>
                    <a:pt x="1066463" y="1763974"/>
                  </a:moveTo>
                  <a:cubicBezTo>
                    <a:pt x="1147505" y="1789982"/>
                    <a:pt x="1239431" y="1766870"/>
                    <a:pt x="1297993" y="1698844"/>
                  </a:cubicBezTo>
                  <a:lnTo>
                    <a:pt x="1566611" y="2501604"/>
                  </a:lnTo>
                  <a:cubicBezTo>
                    <a:pt x="1489632" y="2523995"/>
                    <a:pt x="1330694" y="2556004"/>
                    <a:pt x="1253715" y="2578395"/>
                  </a:cubicBezTo>
                  <a:cubicBezTo>
                    <a:pt x="1175043" y="2307929"/>
                    <a:pt x="1145136" y="2034440"/>
                    <a:pt x="1066463" y="1763974"/>
                  </a:cubicBezTo>
                  <a:close/>
                  <a:moveTo>
                    <a:pt x="0" y="3024870"/>
                  </a:moveTo>
                  <a:lnTo>
                    <a:pt x="2832402" y="2185262"/>
                  </a:lnTo>
                  <a:cubicBezTo>
                    <a:pt x="2897327" y="2591250"/>
                    <a:pt x="2793341" y="3021873"/>
                    <a:pt x="2511222" y="3364393"/>
                  </a:cubicBezTo>
                  <a:cubicBezTo>
                    <a:pt x="2398639" y="3501080"/>
                    <a:pt x="2266849" y="3612613"/>
                    <a:pt x="2121847" y="3696298"/>
                  </a:cubicBezTo>
                  <a:lnTo>
                    <a:pt x="2124922" y="3722539"/>
                  </a:lnTo>
                  <a:lnTo>
                    <a:pt x="2218421" y="3758901"/>
                  </a:lnTo>
                  <a:cubicBezTo>
                    <a:pt x="2241774" y="3734310"/>
                    <a:pt x="2281106" y="3732571"/>
                    <a:pt x="2308573" y="3755195"/>
                  </a:cubicBezTo>
                  <a:cubicBezTo>
                    <a:pt x="2323892" y="3767812"/>
                    <a:pt x="2332480" y="3785503"/>
                    <a:pt x="2333381" y="3803608"/>
                  </a:cubicBezTo>
                  <a:lnTo>
                    <a:pt x="2547556" y="3886900"/>
                  </a:lnTo>
                  <a:lnTo>
                    <a:pt x="2555353" y="3872077"/>
                  </a:lnTo>
                  <a:cubicBezTo>
                    <a:pt x="2578765" y="3843653"/>
                    <a:pt x="2621443" y="3840133"/>
                    <a:pt x="2650679" y="3864213"/>
                  </a:cubicBezTo>
                  <a:cubicBezTo>
                    <a:pt x="2672627" y="3882291"/>
                    <a:pt x="2680759" y="3910785"/>
                    <a:pt x="2673528" y="3935889"/>
                  </a:cubicBezTo>
                  <a:lnTo>
                    <a:pt x="2933845" y="4037125"/>
                  </a:lnTo>
                  <a:lnTo>
                    <a:pt x="2943410" y="4018943"/>
                  </a:lnTo>
                  <a:cubicBezTo>
                    <a:pt x="2966821" y="3990520"/>
                    <a:pt x="3009499" y="3986999"/>
                    <a:pt x="3038735" y="4011079"/>
                  </a:cubicBezTo>
                  <a:cubicBezTo>
                    <a:pt x="3061734" y="4030022"/>
                    <a:pt x="3069562" y="4060403"/>
                    <a:pt x="3059817" y="4086115"/>
                  </a:cubicBezTo>
                  <a:lnTo>
                    <a:pt x="3089175" y="4097532"/>
                  </a:lnTo>
                  <a:lnTo>
                    <a:pt x="3095638" y="4089687"/>
                  </a:lnTo>
                  <a:cubicBezTo>
                    <a:pt x="3103042" y="4080696"/>
                    <a:pt x="3116333" y="4079411"/>
                    <a:pt x="3125323" y="4086816"/>
                  </a:cubicBezTo>
                  <a:lnTo>
                    <a:pt x="3197535" y="4146294"/>
                  </a:lnTo>
                  <a:cubicBezTo>
                    <a:pt x="3206525" y="4153699"/>
                    <a:pt x="3207811" y="4166990"/>
                    <a:pt x="3200406" y="4175980"/>
                  </a:cubicBezTo>
                  <a:lnTo>
                    <a:pt x="3146778" y="4241089"/>
                  </a:lnTo>
                  <a:cubicBezTo>
                    <a:pt x="3139373" y="4250079"/>
                    <a:pt x="3126082" y="4251364"/>
                    <a:pt x="3117092" y="4243959"/>
                  </a:cubicBezTo>
                  <a:lnTo>
                    <a:pt x="3044881" y="4184481"/>
                  </a:lnTo>
                  <a:cubicBezTo>
                    <a:pt x="3035890" y="4177077"/>
                    <a:pt x="3034605" y="4163786"/>
                    <a:pt x="3042010" y="4154795"/>
                  </a:cubicBezTo>
                  <a:lnTo>
                    <a:pt x="3043143" y="4153420"/>
                  </a:lnTo>
                  <a:lnTo>
                    <a:pt x="2958150" y="4119071"/>
                  </a:lnTo>
                  <a:lnTo>
                    <a:pt x="2682548" y="4251879"/>
                  </a:lnTo>
                  <a:cubicBezTo>
                    <a:pt x="2693542" y="4273353"/>
                    <a:pt x="2690701" y="4299443"/>
                    <a:pt x="2674671" y="4318904"/>
                  </a:cubicBezTo>
                  <a:cubicBezTo>
                    <a:pt x="2663073" y="4332986"/>
                    <a:pt x="2646746" y="4340955"/>
                    <a:pt x="2629604" y="4339696"/>
                  </a:cubicBezTo>
                  <a:cubicBezTo>
                    <a:pt x="2628473" y="4340102"/>
                    <a:pt x="2627309" y="4340195"/>
                    <a:pt x="2626124" y="4339911"/>
                  </a:cubicBezTo>
                  <a:cubicBezTo>
                    <a:pt x="2621690" y="4342134"/>
                    <a:pt x="2617222" y="4341678"/>
                    <a:pt x="2612799" y="4340735"/>
                  </a:cubicBezTo>
                  <a:lnTo>
                    <a:pt x="2534802" y="4638415"/>
                  </a:lnTo>
                  <a:lnTo>
                    <a:pt x="2537148" y="4642020"/>
                  </a:lnTo>
                  <a:cubicBezTo>
                    <a:pt x="2543001" y="4646768"/>
                    <a:pt x="2546841" y="4652991"/>
                    <a:pt x="2548791" y="4659913"/>
                  </a:cubicBezTo>
                  <a:lnTo>
                    <a:pt x="2582852" y="4712257"/>
                  </a:lnTo>
                  <a:lnTo>
                    <a:pt x="2584716" y="4709994"/>
                  </a:lnTo>
                  <a:cubicBezTo>
                    <a:pt x="2592121" y="4701004"/>
                    <a:pt x="2605412" y="4699718"/>
                    <a:pt x="2614402" y="4707123"/>
                  </a:cubicBezTo>
                  <a:lnTo>
                    <a:pt x="2686614" y="4766601"/>
                  </a:lnTo>
                  <a:cubicBezTo>
                    <a:pt x="2695604" y="4774006"/>
                    <a:pt x="2696889" y="4787297"/>
                    <a:pt x="2689485" y="4796287"/>
                  </a:cubicBezTo>
                  <a:lnTo>
                    <a:pt x="2635857" y="4861396"/>
                  </a:lnTo>
                  <a:cubicBezTo>
                    <a:pt x="2628452" y="4870386"/>
                    <a:pt x="2615161" y="4871671"/>
                    <a:pt x="2606171" y="4864266"/>
                  </a:cubicBezTo>
                  <a:lnTo>
                    <a:pt x="2533959" y="4804788"/>
                  </a:lnTo>
                  <a:cubicBezTo>
                    <a:pt x="2524969" y="4797384"/>
                    <a:pt x="2523684" y="4784093"/>
                    <a:pt x="2531089" y="4775103"/>
                  </a:cubicBezTo>
                  <a:lnTo>
                    <a:pt x="2536821" y="4768144"/>
                  </a:lnTo>
                  <a:lnTo>
                    <a:pt x="2521118" y="4743302"/>
                  </a:lnTo>
                  <a:cubicBezTo>
                    <a:pt x="2497795" y="4756544"/>
                    <a:pt x="2467358" y="4754351"/>
                    <a:pt x="2444872" y="4735830"/>
                  </a:cubicBezTo>
                  <a:cubicBezTo>
                    <a:pt x="2415637" y="4711750"/>
                    <a:pt x="2410915" y="4669188"/>
                    <a:pt x="2434326" y="4640764"/>
                  </a:cubicBezTo>
                  <a:lnTo>
                    <a:pt x="2448900" y="4629050"/>
                  </a:lnTo>
                  <a:lnTo>
                    <a:pt x="2299277" y="4392344"/>
                  </a:lnTo>
                  <a:cubicBezTo>
                    <a:pt x="2276432" y="4403573"/>
                    <a:pt x="2247795" y="4400747"/>
                    <a:pt x="2226375" y="4383103"/>
                  </a:cubicBezTo>
                  <a:cubicBezTo>
                    <a:pt x="2197139" y="4359023"/>
                    <a:pt x="2192418" y="4316461"/>
                    <a:pt x="2215829" y="4288037"/>
                  </a:cubicBezTo>
                  <a:lnTo>
                    <a:pt x="2227443" y="4278702"/>
                  </a:lnTo>
                  <a:lnTo>
                    <a:pt x="2104256" y="4083817"/>
                  </a:lnTo>
                  <a:cubicBezTo>
                    <a:pt x="2086837" y="4085521"/>
                    <a:pt x="2068613" y="4080402"/>
                    <a:pt x="2053828" y="4068224"/>
                  </a:cubicBezTo>
                  <a:cubicBezTo>
                    <a:pt x="2026943" y="4046079"/>
                    <a:pt x="2020788" y="4008305"/>
                    <a:pt x="2039207" y="3980906"/>
                  </a:cubicBezTo>
                  <a:lnTo>
                    <a:pt x="1983128" y="3892189"/>
                  </a:lnTo>
                  <a:cubicBezTo>
                    <a:pt x="1966343" y="3896943"/>
                    <a:pt x="1950502" y="3895196"/>
                    <a:pt x="1937656" y="3887883"/>
                  </a:cubicBezTo>
                  <a:lnTo>
                    <a:pt x="1894539" y="3940231"/>
                  </a:lnTo>
                  <a:cubicBezTo>
                    <a:pt x="1874645" y="3964385"/>
                    <a:pt x="1838936" y="3967838"/>
                    <a:pt x="1814782" y="3947943"/>
                  </a:cubicBezTo>
                  <a:lnTo>
                    <a:pt x="1712857" y="3863991"/>
                  </a:lnTo>
                  <a:cubicBezTo>
                    <a:pt x="1272645" y="3972973"/>
                    <a:pt x="788898" y="3878780"/>
                    <a:pt x="412164" y="3568480"/>
                  </a:cubicBezTo>
                  <a:cubicBezTo>
                    <a:pt x="227866" y="3416681"/>
                    <a:pt x="89421" y="3229838"/>
                    <a:pt x="0" y="3024870"/>
                  </a:cubicBezTo>
                  <a:close/>
                  <a:moveTo>
                    <a:pt x="981828" y="1413935"/>
                  </a:moveTo>
                  <a:cubicBezTo>
                    <a:pt x="1051928" y="1328826"/>
                    <a:pt x="1177751" y="1316659"/>
                    <a:pt x="1262860" y="1386760"/>
                  </a:cubicBezTo>
                  <a:cubicBezTo>
                    <a:pt x="1347969" y="1456861"/>
                    <a:pt x="1360136" y="1582683"/>
                    <a:pt x="1290035" y="1667793"/>
                  </a:cubicBezTo>
                  <a:cubicBezTo>
                    <a:pt x="1219934" y="1752902"/>
                    <a:pt x="1094112" y="1765068"/>
                    <a:pt x="1009002" y="1694967"/>
                  </a:cubicBezTo>
                  <a:cubicBezTo>
                    <a:pt x="923893" y="1624867"/>
                    <a:pt x="911727" y="1499044"/>
                    <a:pt x="981828" y="1413935"/>
                  </a:cubicBezTo>
                  <a:close/>
                  <a:moveTo>
                    <a:pt x="774033" y="1151519"/>
                  </a:moveTo>
                  <a:cubicBezTo>
                    <a:pt x="839167" y="1059660"/>
                    <a:pt x="944943" y="1000158"/>
                    <a:pt x="1062054" y="989502"/>
                  </a:cubicBezTo>
                  <a:cubicBezTo>
                    <a:pt x="1177023" y="979040"/>
                    <a:pt x="1291047" y="1016740"/>
                    <a:pt x="1373577" y="1092500"/>
                  </a:cubicBezTo>
                  <a:lnTo>
                    <a:pt x="1299876" y="1163056"/>
                  </a:lnTo>
                  <a:cubicBezTo>
                    <a:pt x="1239150" y="1109898"/>
                    <a:pt x="1156188" y="1083522"/>
                    <a:pt x="1072542" y="1090780"/>
                  </a:cubicBezTo>
                  <a:cubicBezTo>
                    <a:pt x="986770" y="1098223"/>
                    <a:pt x="909080" y="1140260"/>
                    <a:pt x="860600" y="1205460"/>
                  </a:cubicBezTo>
                  <a:close/>
                  <a:moveTo>
                    <a:pt x="561882" y="777541"/>
                  </a:moveTo>
                  <a:cubicBezTo>
                    <a:pt x="683875" y="641405"/>
                    <a:pt x="858613" y="554364"/>
                    <a:pt x="1049520" y="536992"/>
                  </a:cubicBezTo>
                  <a:cubicBezTo>
                    <a:pt x="1263707" y="517502"/>
                    <a:pt x="1476134" y="587736"/>
                    <a:pt x="1629887" y="728877"/>
                  </a:cubicBezTo>
                  <a:lnTo>
                    <a:pt x="1492582" y="860324"/>
                  </a:lnTo>
                  <a:cubicBezTo>
                    <a:pt x="1379450" y="761291"/>
                    <a:pt x="1224890" y="712152"/>
                    <a:pt x="1069057" y="725675"/>
                  </a:cubicBezTo>
                  <a:cubicBezTo>
                    <a:pt x="909264" y="739541"/>
                    <a:pt x="764526" y="817857"/>
                    <a:pt x="674208" y="939324"/>
                  </a:cubicBezTo>
                  <a:lnTo>
                    <a:pt x="512935" y="838830"/>
                  </a:lnTo>
                  <a:cubicBezTo>
                    <a:pt x="528103" y="817438"/>
                    <a:pt x="544454" y="796989"/>
                    <a:pt x="561882" y="777541"/>
                  </a:cubicBezTo>
                  <a:close/>
                  <a:moveTo>
                    <a:pt x="309974" y="347024"/>
                  </a:moveTo>
                  <a:cubicBezTo>
                    <a:pt x="483656" y="153208"/>
                    <a:pt x="732431" y="29287"/>
                    <a:pt x="1004223" y="4555"/>
                  </a:cubicBezTo>
                  <a:cubicBezTo>
                    <a:pt x="1309160" y="-23193"/>
                    <a:pt x="1611592" y="76799"/>
                    <a:pt x="1830491" y="277742"/>
                  </a:cubicBezTo>
                  <a:lnTo>
                    <a:pt x="1635008" y="464883"/>
                  </a:lnTo>
                  <a:cubicBezTo>
                    <a:pt x="1473943" y="323890"/>
                    <a:pt x="1253896" y="253931"/>
                    <a:pt x="1032038" y="273182"/>
                  </a:cubicBezTo>
                  <a:cubicBezTo>
                    <a:pt x="804541" y="292923"/>
                    <a:pt x="598479" y="404421"/>
                    <a:pt x="469894" y="577354"/>
                  </a:cubicBezTo>
                  <a:lnTo>
                    <a:pt x="240289" y="434282"/>
                  </a:lnTo>
                  <a:cubicBezTo>
                    <a:pt x="261884" y="403826"/>
                    <a:pt x="285163" y="374712"/>
                    <a:pt x="309974" y="347024"/>
                  </a:cubicBezTo>
                  <a:close/>
                </a:path>
              </a:pathLst>
            </a:custGeom>
            <a:solidFill>
              <a:schemeClr val="accent4"/>
            </a:solidFill>
            <a:ln w="10795" cap="flat" cmpd="sng" algn="ctr">
              <a:noFill/>
              <a:prstDash val="solid"/>
            </a:ln>
            <a:effectLst/>
          </p:spPr>
          <p:txBody>
            <a:bodyPr rtlCol="0" anchor="ctr"/>
            <a:lstStyle/>
            <a:p>
              <a:pPr marL="0" marR="0" lvl="0" indent="0" algn="ctr" defTabSz="896214" rtl="0" eaLnBrk="1" fontAlgn="auto" latinLnBrk="1"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err="1">
                <a:ln>
                  <a:noFill/>
                </a:ln>
                <a:solidFill>
                  <a:srgbClr val="FFFFFF"/>
                </a:solidFill>
                <a:effectLst/>
                <a:uLnTx/>
                <a:uFillTx/>
                <a:latin typeface="Segoe UI"/>
                <a:ea typeface="+mn-ea"/>
                <a:cs typeface="+mn-cs"/>
              </a:endParaRPr>
            </a:p>
          </p:txBody>
        </p:sp>
        <p:grpSp>
          <p:nvGrpSpPr>
            <p:cNvPr id="41" name="Group 117"/>
            <p:cNvGrpSpPr>
              <a:grpSpLocks noChangeAspect="1"/>
            </p:cNvGrpSpPr>
            <p:nvPr/>
          </p:nvGrpSpPr>
          <p:grpSpPr bwMode="black">
            <a:xfrm>
              <a:off x="11197042" y="2841963"/>
              <a:ext cx="637100" cy="669322"/>
              <a:chOff x="6135640" y="2836922"/>
              <a:chExt cx="473242" cy="497305"/>
            </a:xfrm>
            <a:solidFill>
              <a:schemeClr val="accent5"/>
            </a:solidFill>
          </p:grpSpPr>
          <p:grpSp>
            <p:nvGrpSpPr>
              <p:cNvPr id="75" name="Group 156"/>
              <p:cNvGrpSpPr/>
              <p:nvPr/>
            </p:nvGrpSpPr>
            <p:grpSpPr bwMode="black">
              <a:xfrm>
                <a:off x="6135640" y="2836922"/>
                <a:ext cx="473242" cy="497305"/>
                <a:chOff x="5574624" y="922419"/>
                <a:chExt cx="473241" cy="497307"/>
              </a:xfrm>
              <a:grpFill/>
            </p:grpSpPr>
            <p:sp>
              <p:nvSpPr>
                <p:cNvPr id="77" name="Rounded Rectangle 158"/>
                <p:cNvSpPr/>
                <p:nvPr/>
              </p:nvSpPr>
              <p:spPr bwMode="black">
                <a:xfrm>
                  <a:off x="5574624" y="922419"/>
                  <a:ext cx="473241" cy="360946"/>
                </a:xfrm>
                <a:prstGeom prst="roundRect">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78" name="Isosceles Triangle 159"/>
                <p:cNvSpPr/>
                <p:nvPr/>
              </p:nvSpPr>
              <p:spPr bwMode="black">
                <a:xfrm flipV="1">
                  <a:off x="5662862" y="1251284"/>
                  <a:ext cx="202131" cy="168442"/>
                </a:xfrm>
                <a:prstGeom prst="triangle">
                  <a:avLst>
                    <a:gd name="adj" fmla="val 20000"/>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76" name="TextBox 75"/>
              <p:cNvSpPr txBox="1"/>
              <p:nvPr/>
            </p:nvSpPr>
            <p:spPr bwMode="black">
              <a:xfrm>
                <a:off x="6208295" y="2909109"/>
                <a:ext cx="393031" cy="182771"/>
              </a:xfrm>
              <a:prstGeom prst="rect">
                <a:avLst/>
              </a:prstGeom>
              <a:noFill/>
            </p:spPr>
            <p:txBody>
              <a:bodyPr wrap="square" lIns="0" tIns="0" rIns="0" bIns="0"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1567" b="0" i="0" u="none" strike="noStrike" kern="1200" cap="none" spc="-132" normalizeH="0" baseline="0" noProof="0" dirty="0">
                    <a:ln>
                      <a:noFill/>
                    </a:ln>
                    <a:solidFill>
                      <a:prstClr val="white"/>
                    </a:solidFill>
                    <a:effectLst/>
                    <a:uLnTx/>
                    <a:uFillTx/>
                    <a:latin typeface="Segoe UI"/>
                    <a:ea typeface="+mn-ea"/>
                    <a:cs typeface="Segoe UI" panose="020B0502040204020203" pitchFamily="34" charset="0"/>
                    <a:sym typeface="Segoe UI" panose="020B0502040204020203" pitchFamily="34" charset="0"/>
                  </a:rPr>
                  <a:t>“   ”</a:t>
                </a:r>
              </a:p>
            </p:txBody>
          </p:sp>
        </p:grpSp>
        <p:sp>
          <p:nvSpPr>
            <p:cNvPr id="42" name="Freeform 118"/>
            <p:cNvSpPr/>
            <p:nvPr/>
          </p:nvSpPr>
          <p:spPr bwMode="auto">
            <a:xfrm>
              <a:off x="10805079" y="1897925"/>
              <a:ext cx="620546" cy="557252"/>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90"/>
            <p:cNvSpPr>
              <a:spLocks noEditPoints="1"/>
            </p:cNvSpPr>
            <p:nvPr/>
          </p:nvSpPr>
          <p:spPr bwMode="black">
            <a:xfrm flipH="1">
              <a:off x="8284675" y="2181438"/>
              <a:ext cx="306985" cy="209724"/>
            </a:xfrm>
            <a:custGeom>
              <a:avLst/>
              <a:gdLst>
                <a:gd name="T0" fmla="*/ 44 w 101"/>
                <a:gd name="T1" fmla="*/ 0 h 69"/>
                <a:gd name="T2" fmla="*/ 44 w 101"/>
                <a:gd name="T3" fmla="*/ 69 h 69"/>
                <a:gd name="T4" fmla="*/ 0 w 101"/>
                <a:gd name="T5" fmla="*/ 35 h 69"/>
                <a:gd name="T6" fmla="*/ 44 w 101"/>
                <a:gd name="T7" fmla="*/ 0 h 69"/>
                <a:gd name="T8" fmla="*/ 56 w 101"/>
                <a:gd name="T9" fmla="*/ 35 h 69"/>
                <a:gd name="T10" fmla="*/ 101 w 101"/>
                <a:gd name="T11" fmla="*/ 69 h 69"/>
                <a:gd name="T12" fmla="*/ 101 w 101"/>
                <a:gd name="T13" fmla="*/ 0 h 69"/>
                <a:gd name="T14" fmla="*/ 56 w 101"/>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9">
                  <a:moveTo>
                    <a:pt x="44" y="0"/>
                  </a:moveTo>
                  <a:lnTo>
                    <a:pt x="44" y="69"/>
                  </a:lnTo>
                  <a:lnTo>
                    <a:pt x="0" y="35"/>
                  </a:lnTo>
                  <a:lnTo>
                    <a:pt x="44" y="0"/>
                  </a:lnTo>
                  <a:close/>
                  <a:moveTo>
                    <a:pt x="56" y="35"/>
                  </a:moveTo>
                  <a:lnTo>
                    <a:pt x="101" y="69"/>
                  </a:lnTo>
                  <a:lnTo>
                    <a:pt x="101" y="0"/>
                  </a:lnTo>
                  <a:lnTo>
                    <a:pt x="56" y="35"/>
                  </a:lnTo>
                  <a:close/>
                </a:path>
              </a:pathLst>
            </a:custGeom>
            <a:solidFill>
              <a:schemeClr val="accent2"/>
            </a:solidFill>
            <a:ln>
              <a:no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44" name="Group 124"/>
            <p:cNvGrpSpPr/>
            <p:nvPr/>
          </p:nvGrpSpPr>
          <p:grpSpPr>
            <a:xfrm>
              <a:off x="10893086" y="3344340"/>
              <a:ext cx="320624" cy="875812"/>
              <a:chOff x="3881450" y="69056"/>
              <a:chExt cx="1666777" cy="4552950"/>
            </a:xfrm>
            <a:solidFill>
              <a:schemeClr val="accent3"/>
            </a:solidFill>
          </p:grpSpPr>
          <p:sp>
            <p:nvSpPr>
              <p:cNvPr id="66" name="Oval 147"/>
              <p:cNvSpPr/>
              <p:nvPr/>
            </p:nvSpPr>
            <p:spPr>
              <a:xfrm>
                <a:off x="4441375" y="69056"/>
                <a:ext cx="551494" cy="658538"/>
              </a:xfrm>
              <a:prstGeom prst="ellipse">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7" name="Rounded Rectangle 8"/>
              <p:cNvSpPr/>
              <p:nvPr/>
            </p:nvSpPr>
            <p:spPr>
              <a:xfrm>
                <a:off x="4041639" y="759234"/>
                <a:ext cx="1350966" cy="652937"/>
              </a:xfrm>
              <a:custGeom>
                <a:avLst/>
                <a:gdLst/>
                <a:ahLst/>
                <a:cxnLst/>
                <a:rect l="l" t="t" r="r" b="b"/>
                <a:pathLst>
                  <a:path w="1350966" h="652937">
                    <a:moveTo>
                      <a:pt x="0" y="350097"/>
                    </a:moveTo>
                    <a:lnTo>
                      <a:pt x="0" y="350098"/>
                    </a:lnTo>
                    <a:close/>
                    <a:moveTo>
                      <a:pt x="520119" y="0"/>
                    </a:moveTo>
                    <a:lnTo>
                      <a:pt x="675483" y="263324"/>
                    </a:lnTo>
                    <a:lnTo>
                      <a:pt x="830417" y="729"/>
                    </a:lnTo>
                    <a:cubicBezTo>
                      <a:pt x="903593" y="21645"/>
                      <a:pt x="976926" y="47251"/>
                      <a:pt x="1048127" y="47259"/>
                    </a:cubicBezTo>
                    <a:cubicBezTo>
                      <a:pt x="1215380" y="47259"/>
                      <a:pt x="1350966" y="182845"/>
                      <a:pt x="1350966" y="350098"/>
                    </a:cubicBezTo>
                    <a:lnTo>
                      <a:pt x="1350965" y="350098"/>
                    </a:lnTo>
                    <a:cubicBezTo>
                      <a:pt x="1350965" y="517351"/>
                      <a:pt x="1215379" y="652937"/>
                      <a:pt x="1048126" y="652937"/>
                    </a:cubicBezTo>
                    <a:lnTo>
                      <a:pt x="302839" y="652936"/>
                    </a:lnTo>
                    <a:cubicBezTo>
                      <a:pt x="135586" y="652936"/>
                      <a:pt x="0" y="517350"/>
                      <a:pt x="0" y="350098"/>
                    </a:cubicBezTo>
                    <a:cubicBezTo>
                      <a:pt x="0" y="182845"/>
                      <a:pt x="135586" y="47259"/>
                      <a:pt x="302839" y="47259"/>
                    </a:cubicBezTo>
                    <a:cubicBezTo>
                      <a:pt x="376528" y="47251"/>
                      <a:pt x="448031" y="21006"/>
                      <a:pt x="520119" y="0"/>
                    </a:cubicBezTo>
                    <a:close/>
                  </a:path>
                </a:pathLst>
              </a:cu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8" name="Rounded Rectangle 8"/>
              <p:cNvSpPr/>
              <p:nvPr/>
            </p:nvSpPr>
            <p:spPr>
              <a:xfrm>
                <a:off x="4157392" y="1355776"/>
                <a:ext cx="1119458" cy="1412827"/>
              </a:xfrm>
              <a:custGeom>
                <a:avLst/>
                <a:gdLst/>
                <a:ahLst/>
                <a:cxnLst/>
                <a:rect l="l" t="t" r="r" b="b"/>
                <a:pathLst>
                  <a:path w="1119458" h="1412827">
                    <a:moveTo>
                      <a:pt x="0" y="0"/>
                    </a:moveTo>
                    <a:lnTo>
                      <a:pt x="1119458" y="0"/>
                    </a:lnTo>
                    <a:lnTo>
                      <a:pt x="1119458" y="384037"/>
                    </a:lnTo>
                    <a:lnTo>
                      <a:pt x="935841" y="773682"/>
                    </a:lnTo>
                    <a:cubicBezTo>
                      <a:pt x="890749" y="869369"/>
                      <a:pt x="931764" y="983491"/>
                      <a:pt x="1027451" y="1028583"/>
                    </a:cubicBezTo>
                    <a:cubicBezTo>
                      <a:pt x="1057262" y="1042631"/>
                      <a:pt x="1088862" y="1048322"/>
                      <a:pt x="1119458" y="1043952"/>
                    </a:cubicBezTo>
                    <a:lnTo>
                      <a:pt x="1119458" y="1184606"/>
                    </a:lnTo>
                    <a:lnTo>
                      <a:pt x="1119458" y="1315987"/>
                    </a:lnTo>
                    <a:lnTo>
                      <a:pt x="1119458" y="1412827"/>
                    </a:lnTo>
                    <a:lnTo>
                      <a:pt x="0" y="1412827"/>
                    </a:lnTo>
                    <a:lnTo>
                      <a:pt x="0" y="1315987"/>
                    </a:lnTo>
                    <a:lnTo>
                      <a:pt x="0" y="1184606"/>
                    </a:lnTo>
                    <a:lnTo>
                      <a:pt x="0" y="1044326"/>
                    </a:lnTo>
                    <a:cubicBezTo>
                      <a:pt x="29860" y="1048010"/>
                      <a:pt x="60566" y="1042254"/>
                      <a:pt x="89577" y="1028583"/>
                    </a:cubicBezTo>
                    <a:cubicBezTo>
                      <a:pt x="185264" y="983491"/>
                      <a:pt x="226278" y="869369"/>
                      <a:pt x="181187" y="773682"/>
                    </a:cubicBezTo>
                    <a:lnTo>
                      <a:pt x="0" y="389196"/>
                    </a:lnTo>
                    <a:close/>
                  </a:path>
                </a:pathLst>
              </a:cu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9" name="Rounded Rectangle 150"/>
              <p:cNvSpPr/>
              <p:nvPr/>
            </p:nvSpPr>
            <p:spPr>
              <a:xfrm>
                <a:off x="4254347" y="2540382"/>
                <a:ext cx="376642" cy="2081624"/>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0" name="Rounded Rectangle 151"/>
              <p:cNvSpPr/>
              <p:nvPr/>
            </p:nvSpPr>
            <p:spPr>
              <a:xfrm>
                <a:off x="4803255" y="2540382"/>
                <a:ext cx="376642" cy="2081624"/>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1" name="Rounded Rectangle 152"/>
              <p:cNvSpPr/>
              <p:nvPr/>
            </p:nvSpPr>
            <p:spPr>
              <a:xfrm rot="19813404">
                <a:off x="5227850" y="838507"/>
                <a:ext cx="308434" cy="963397"/>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2" name="Rounded Rectangle 153"/>
              <p:cNvSpPr/>
              <p:nvPr/>
            </p:nvSpPr>
            <p:spPr>
              <a:xfrm rot="1513910">
                <a:off x="5261012" y="1456893"/>
                <a:ext cx="287215" cy="922176"/>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3" name="Rounded Rectangle 154"/>
              <p:cNvSpPr/>
              <p:nvPr/>
            </p:nvSpPr>
            <p:spPr>
              <a:xfrm rot="1786596" flipH="1">
                <a:off x="3893393" y="838507"/>
                <a:ext cx="308434" cy="963397"/>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4" name="Rounded Rectangle 155"/>
              <p:cNvSpPr/>
              <p:nvPr/>
            </p:nvSpPr>
            <p:spPr>
              <a:xfrm rot="20086090" flipH="1">
                <a:off x="3881450" y="1456893"/>
                <a:ext cx="287215" cy="922176"/>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Freeform 132"/>
            <p:cNvSpPr>
              <a:spLocks noEditPoints="1"/>
            </p:cNvSpPr>
            <p:nvPr/>
          </p:nvSpPr>
          <p:spPr bwMode="black">
            <a:xfrm>
              <a:off x="11738330" y="58809"/>
              <a:ext cx="301481" cy="49130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1"/>
            </a:solidFill>
            <a:ln>
              <a:solidFill>
                <a:schemeClr val="accent1"/>
              </a:solid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6"/>
            <p:cNvSpPr>
              <a:spLocks noEditPoints="1"/>
            </p:cNvSpPr>
            <p:nvPr/>
          </p:nvSpPr>
          <p:spPr bwMode="auto">
            <a:xfrm>
              <a:off x="10169436" y="1339177"/>
              <a:ext cx="207491" cy="416682"/>
            </a:xfrm>
            <a:custGeom>
              <a:avLst/>
              <a:gdLst>
                <a:gd name="T0" fmla="*/ 1666 w 3416"/>
                <a:gd name="T1" fmla="*/ 5646 h 6862"/>
                <a:gd name="T2" fmla="*/ 1891 w 3416"/>
                <a:gd name="T3" fmla="*/ 5762 h 6862"/>
                <a:gd name="T4" fmla="*/ 2062 w 3416"/>
                <a:gd name="T5" fmla="*/ 5948 h 6862"/>
                <a:gd name="T6" fmla="*/ 2135 w 3416"/>
                <a:gd name="T7" fmla="*/ 6178 h 6862"/>
                <a:gd name="T8" fmla="*/ 2110 w 3416"/>
                <a:gd name="T9" fmla="*/ 6426 h 6862"/>
                <a:gd name="T10" fmla="*/ 1989 w 3416"/>
                <a:gd name="T11" fmla="*/ 6633 h 6862"/>
                <a:gd name="T12" fmla="*/ 1782 w 3416"/>
                <a:gd name="T13" fmla="*/ 6791 h 6862"/>
                <a:gd name="T14" fmla="*/ 1542 w 3416"/>
                <a:gd name="T15" fmla="*/ 6858 h 6862"/>
                <a:gd name="T16" fmla="*/ 1288 w 3416"/>
                <a:gd name="T17" fmla="*/ 6835 h 6862"/>
                <a:gd name="T18" fmla="*/ 1060 w 3416"/>
                <a:gd name="T19" fmla="*/ 6722 h 6862"/>
                <a:gd name="T20" fmla="*/ 889 w 3416"/>
                <a:gd name="T21" fmla="*/ 6535 h 6862"/>
                <a:gd name="T22" fmla="*/ 816 w 3416"/>
                <a:gd name="T23" fmla="*/ 6307 h 6862"/>
                <a:gd name="T24" fmla="*/ 841 w 3416"/>
                <a:gd name="T25" fmla="*/ 6057 h 6862"/>
                <a:gd name="T26" fmla="*/ 962 w 3416"/>
                <a:gd name="T27" fmla="*/ 5850 h 6862"/>
                <a:gd name="T28" fmla="*/ 1167 w 3416"/>
                <a:gd name="T29" fmla="*/ 5693 h 6862"/>
                <a:gd name="T30" fmla="*/ 1411 w 3416"/>
                <a:gd name="T31" fmla="*/ 5623 h 6862"/>
                <a:gd name="T32" fmla="*/ 1674 w 3416"/>
                <a:gd name="T33" fmla="*/ 2 h 6862"/>
                <a:gd name="T34" fmla="*/ 2035 w 3416"/>
                <a:gd name="T35" fmla="*/ 38 h 6862"/>
                <a:gd name="T36" fmla="*/ 2373 w 3416"/>
                <a:gd name="T37" fmla="*/ 125 h 6862"/>
                <a:gd name="T38" fmla="*/ 2676 w 3416"/>
                <a:gd name="T39" fmla="*/ 257 h 6862"/>
                <a:gd name="T40" fmla="*/ 2937 w 3416"/>
                <a:gd name="T41" fmla="*/ 436 h 6862"/>
                <a:gd name="T42" fmla="*/ 3149 w 3416"/>
                <a:gd name="T43" fmla="*/ 660 h 6862"/>
                <a:gd name="T44" fmla="*/ 3306 w 3416"/>
                <a:gd name="T45" fmla="*/ 933 h 6862"/>
                <a:gd name="T46" fmla="*/ 3396 w 3416"/>
                <a:gd name="T47" fmla="*/ 1252 h 6862"/>
                <a:gd name="T48" fmla="*/ 3414 w 3416"/>
                <a:gd name="T49" fmla="*/ 1609 h 6862"/>
                <a:gd name="T50" fmla="*/ 3369 w 3416"/>
                <a:gd name="T51" fmla="*/ 1937 h 6862"/>
                <a:gd name="T52" fmla="*/ 3264 w 3416"/>
                <a:gd name="T53" fmla="*/ 2227 h 6862"/>
                <a:gd name="T54" fmla="*/ 3120 w 3416"/>
                <a:gd name="T55" fmla="*/ 2488 h 6862"/>
                <a:gd name="T56" fmla="*/ 2897 w 3416"/>
                <a:gd name="T57" fmla="*/ 2786 h 6862"/>
                <a:gd name="T58" fmla="*/ 2492 w 3416"/>
                <a:gd name="T59" fmla="*/ 3177 h 6862"/>
                <a:gd name="T60" fmla="*/ 2156 w 3416"/>
                <a:gd name="T61" fmla="*/ 3494 h 6862"/>
                <a:gd name="T62" fmla="*/ 1995 w 3416"/>
                <a:gd name="T63" fmla="*/ 3680 h 6862"/>
                <a:gd name="T64" fmla="*/ 1868 w 3416"/>
                <a:gd name="T65" fmla="*/ 3874 h 6862"/>
                <a:gd name="T66" fmla="*/ 1793 w 3416"/>
                <a:gd name="T67" fmla="*/ 4086 h 6862"/>
                <a:gd name="T68" fmla="*/ 1778 w 3416"/>
                <a:gd name="T69" fmla="*/ 4356 h 6862"/>
                <a:gd name="T70" fmla="*/ 1851 w 3416"/>
                <a:gd name="T71" fmla="*/ 4698 h 6862"/>
                <a:gd name="T72" fmla="*/ 948 w 3416"/>
                <a:gd name="T73" fmla="*/ 4896 h 6862"/>
                <a:gd name="T74" fmla="*/ 908 w 3416"/>
                <a:gd name="T75" fmla="*/ 4761 h 6862"/>
                <a:gd name="T76" fmla="*/ 873 w 3416"/>
                <a:gd name="T77" fmla="*/ 4592 h 6862"/>
                <a:gd name="T78" fmla="*/ 841 w 3416"/>
                <a:gd name="T79" fmla="*/ 4226 h 6862"/>
                <a:gd name="T80" fmla="*/ 870 w 3416"/>
                <a:gd name="T81" fmla="*/ 3955 h 6862"/>
                <a:gd name="T82" fmla="*/ 954 w 3416"/>
                <a:gd name="T83" fmla="*/ 3711 h 6862"/>
                <a:gd name="T84" fmla="*/ 1238 w 3416"/>
                <a:gd name="T85" fmla="*/ 3281 h 6862"/>
                <a:gd name="T86" fmla="*/ 1605 w 3416"/>
                <a:gd name="T87" fmla="*/ 2897 h 6862"/>
                <a:gd name="T88" fmla="*/ 1972 w 3416"/>
                <a:gd name="T89" fmla="*/ 2534 h 6862"/>
                <a:gd name="T90" fmla="*/ 2256 w 3416"/>
                <a:gd name="T91" fmla="*/ 2162 h 6862"/>
                <a:gd name="T92" fmla="*/ 2342 w 3416"/>
                <a:gd name="T93" fmla="*/ 1958 h 6862"/>
                <a:gd name="T94" fmla="*/ 2369 w 3416"/>
                <a:gd name="T95" fmla="*/ 1734 h 6862"/>
                <a:gd name="T96" fmla="*/ 2350 w 3416"/>
                <a:gd name="T97" fmla="*/ 1538 h 6862"/>
                <a:gd name="T98" fmla="*/ 2287 w 3416"/>
                <a:gd name="T99" fmla="*/ 1369 h 6862"/>
                <a:gd name="T100" fmla="*/ 2187 w 3416"/>
                <a:gd name="T101" fmla="*/ 1227 h 6862"/>
                <a:gd name="T102" fmla="*/ 2056 w 3416"/>
                <a:gd name="T103" fmla="*/ 1110 h 6862"/>
                <a:gd name="T104" fmla="*/ 1722 w 3416"/>
                <a:gd name="T105" fmla="*/ 954 h 6862"/>
                <a:gd name="T106" fmla="*/ 1319 w 3416"/>
                <a:gd name="T107" fmla="*/ 902 h 6862"/>
                <a:gd name="T108" fmla="*/ 977 w 3416"/>
                <a:gd name="T109" fmla="*/ 941 h 6862"/>
                <a:gd name="T110" fmla="*/ 643 w 3416"/>
                <a:gd name="T111" fmla="*/ 1056 h 6862"/>
                <a:gd name="T112" fmla="*/ 317 w 3416"/>
                <a:gd name="T113" fmla="*/ 1250 h 6862"/>
                <a:gd name="T114" fmla="*/ 0 w 3416"/>
                <a:gd name="T115" fmla="*/ 1521 h 6862"/>
                <a:gd name="T116" fmla="*/ 288 w 3416"/>
                <a:gd name="T117" fmla="*/ 296 h 6862"/>
                <a:gd name="T118" fmla="*/ 678 w 3416"/>
                <a:gd name="T119" fmla="*/ 142 h 6862"/>
                <a:gd name="T120" fmla="*/ 1073 w 3416"/>
                <a:gd name="T121" fmla="*/ 44 h 6862"/>
                <a:gd name="T122" fmla="*/ 1478 w 3416"/>
                <a:gd name="T123" fmla="*/ 2 h 6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6" h="6862">
                  <a:moveTo>
                    <a:pt x="1478" y="5620"/>
                  </a:moveTo>
                  <a:lnTo>
                    <a:pt x="1544" y="5623"/>
                  </a:lnTo>
                  <a:lnTo>
                    <a:pt x="1607" y="5631"/>
                  </a:lnTo>
                  <a:lnTo>
                    <a:pt x="1666" y="5646"/>
                  </a:lnTo>
                  <a:lnTo>
                    <a:pt x="1726" y="5666"/>
                  </a:lnTo>
                  <a:lnTo>
                    <a:pt x="1784" y="5693"/>
                  </a:lnTo>
                  <a:lnTo>
                    <a:pt x="1839" y="5725"/>
                  </a:lnTo>
                  <a:lnTo>
                    <a:pt x="1891" y="5762"/>
                  </a:lnTo>
                  <a:lnTo>
                    <a:pt x="1943" y="5806"/>
                  </a:lnTo>
                  <a:lnTo>
                    <a:pt x="1989" y="5850"/>
                  </a:lnTo>
                  <a:lnTo>
                    <a:pt x="2027" y="5898"/>
                  </a:lnTo>
                  <a:lnTo>
                    <a:pt x="2062" y="5948"/>
                  </a:lnTo>
                  <a:lnTo>
                    <a:pt x="2089" y="6002"/>
                  </a:lnTo>
                  <a:lnTo>
                    <a:pt x="2110" y="6057"/>
                  </a:lnTo>
                  <a:lnTo>
                    <a:pt x="2125" y="6117"/>
                  </a:lnTo>
                  <a:lnTo>
                    <a:pt x="2135" y="6178"/>
                  </a:lnTo>
                  <a:lnTo>
                    <a:pt x="2137" y="6244"/>
                  </a:lnTo>
                  <a:lnTo>
                    <a:pt x="2135" y="6307"/>
                  </a:lnTo>
                  <a:lnTo>
                    <a:pt x="2125" y="6368"/>
                  </a:lnTo>
                  <a:lnTo>
                    <a:pt x="2110" y="6426"/>
                  </a:lnTo>
                  <a:lnTo>
                    <a:pt x="2089" y="6482"/>
                  </a:lnTo>
                  <a:lnTo>
                    <a:pt x="2062" y="6535"/>
                  </a:lnTo>
                  <a:lnTo>
                    <a:pt x="2027" y="6585"/>
                  </a:lnTo>
                  <a:lnTo>
                    <a:pt x="1989" y="6633"/>
                  </a:lnTo>
                  <a:lnTo>
                    <a:pt x="1943" y="6679"/>
                  </a:lnTo>
                  <a:lnTo>
                    <a:pt x="1891" y="6722"/>
                  </a:lnTo>
                  <a:lnTo>
                    <a:pt x="1837" y="6760"/>
                  </a:lnTo>
                  <a:lnTo>
                    <a:pt x="1782" y="6791"/>
                  </a:lnTo>
                  <a:lnTo>
                    <a:pt x="1724" y="6816"/>
                  </a:lnTo>
                  <a:lnTo>
                    <a:pt x="1664" y="6835"/>
                  </a:lnTo>
                  <a:lnTo>
                    <a:pt x="1605" y="6850"/>
                  </a:lnTo>
                  <a:lnTo>
                    <a:pt x="1542" y="6858"/>
                  </a:lnTo>
                  <a:lnTo>
                    <a:pt x="1478" y="6862"/>
                  </a:lnTo>
                  <a:lnTo>
                    <a:pt x="1413" y="6858"/>
                  </a:lnTo>
                  <a:lnTo>
                    <a:pt x="1350" y="6850"/>
                  </a:lnTo>
                  <a:lnTo>
                    <a:pt x="1288" y="6835"/>
                  </a:lnTo>
                  <a:lnTo>
                    <a:pt x="1229" y="6816"/>
                  </a:lnTo>
                  <a:lnTo>
                    <a:pt x="1169" y="6791"/>
                  </a:lnTo>
                  <a:lnTo>
                    <a:pt x="1113" y="6760"/>
                  </a:lnTo>
                  <a:lnTo>
                    <a:pt x="1060" y="6722"/>
                  </a:lnTo>
                  <a:lnTo>
                    <a:pt x="1008" y="6679"/>
                  </a:lnTo>
                  <a:lnTo>
                    <a:pt x="962" y="6633"/>
                  </a:lnTo>
                  <a:lnTo>
                    <a:pt x="923" y="6585"/>
                  </a:lnTo>
                  <a:lnTo>
                    <a:pt x="889" y="6535"/>
                  </a:lnTo>
                  <a:lnTo>
                    <a:pt x="862" y="6482"/>
                  </a:lnTo>
                  <a:lnTo>
                    <a:pt x="841" y="6426"/>
                  </a:lnTo>
                  <a:lnTo>
                    <a:pt x="825" y="6368"/>
                  </a:lnTo>
                  <a:lnTo>
                    <a:pt x="816" y="6307"/>
                  </a:lnTo>
                  <a:lnTo>
                    <a:pt x="812" y="6244"/>
                  </a:lnTo>
                  <a:lnTo>
                    <a:pt x="816" y="6178"/>
                  </a:lnTo>
                  <a:lnTo>
                    <a:pt x="825" y="6117"/>
                  </a:lnTo>
                  <a:lnTo>
                    <a:pt x="841" y="6057"/>
                  </a:lnTo>
                  <a:lnTo>
                    <a:pt x="862" y="6002"/>
                  </a:lnTo>
                  <a:lnTo>
                    <a:pt x="889" y="5948"/>
                  </a:lnTo>
                  <a:lnTo>
                    <a:pt x="923" y="5898"/>
                  </a:lnTo>
                  <a:lnTo>
                    <a:pt x="962" y="5850"/>
                  </a:lnTo>
                  <a:lnTo>
                    <a:pt x="1008" y="5806"/>
                  </a:lnTo>
                  <a:lnTo>
                    <a:pt x="1060" y="5762"/>
                  </a:lnTo>
                  <a:lnTo>
                    <a:pt x="1113" y="5725"/>
                  </a:lnTo>
                  <a:lnTo>
                    <a:pt x="1167" y="5693"/>
                  </a:lnTo>
                  <a:lnTo>
                    <a:pt x="1225" y="5666"/>
                  </a:lnTo>
                  <a:lnTo>
                    <a:pt x="1286" y="5646"/>
                  </a:lnTo>
                  <a:lnTo>
                    <a:pt x="1348" y="5631"/>
                  </a:lnTo>
                  <a:lnTo>
                    <a:pt x="1411" y="5623"/>
                  </a:lnTo>
                  <a:lnTo>
                    <a:pt x="1478" y="5620"/>
                  </a:lnTo>
                  <a:lnTo>
                    <a:pt x="1478" y="5620"/>
                  </a:lnTo>
                  <a:close/>
                  <a:moveTo>
                    <a:pt x="1580" y="0"/>
                  </a:moveTo>
                  <a:lnTo>
                    <a:pt x="1674" y="2"/>
                  </a:lnTo>
                  <a:lnTo>
                    <a:pt x="1766" y="8"/>
                  </a:lnTo>
                  <a:lnTo>
                    <a:pt x="1856" y="15"/>
                  </a:lnTo>
                  <a:lnTo>
                    <a:pt x="1947" y="25"/>
                  </a:lnTo>
                  <a:lnTo>
                    <a:pt x="2035" y="38"/>
                  </a:lnTo>
                  <a:lnTo>
                    <a:pt x="2121" y="56"/>
                  </a:lnTo>
                  <a:lnTo>
                    <a:pt x="2206" y="75"/>
                  </a:lnTo>
                  <a:lnTo>
                    <a:pt x="2290" y="98"/>
                  </a:lnTo>
                  <a:lnTo>
                    <a:pt x="2373" y="125"/>
                  </a:lnTo>
                  <a:lnTo>
                    <a:pt x="2454" y="154"/>
                  </a:lnTo>
                  <a:lnTo>
                    <a:pt x="2530" y="184"/>
                  </a:lnTo>
                  <a:lnTo>
                    <a:pt x="2605" y="219"/>
                  </a:lnTo>
                  <a:lnTo>
                    <a:pt x="2676" y="257"/>
                  </a:lnTo>
                  <a:lnTo>
                    <a:pt x="2745" y="298"/>
                  </a:lnTo>
                  <a:lnTo>
                    <a:pt x="2813" y="340"/>
                  </a:lnTo>
                  <a:lnTo>
                    <a:pt x="2876" y="386"/>
                  </a:lnTo>
                  <a:lnTo>
                    <a:pt x="2937" y="436"/>
                  </a:lnTo>
                  <a:lnTo>
                    <a:pt x="2995" y="488"/>
                  </a:lnTo>
                  <a:lnTo>
                    <a:pt x="3051" y="543"/>
                  </a:lnTo>
                  <a:lnTo>
                    <a:pt x="3101" y="601"/>
                  </a:lnTo>
                  <a:lnTo>
                    <a:pt x="3149" y="660"/>
                  </a:lnTo>
                  <a:lnTo>
                    <a:pt x="3193" y="724"/>
                  </a:lnTo>
                  <a:lnTo>
                    <a:pt x="3235" y="791"/>
                  </a:lnTo>
                  <a:lnTo>
                    <a:pt x="3272" y="860"/>
                  </a:lnTo>
                  <a:lnTo>
                    <a:pt x="3306" y="933"/>
                  </a:lnTo>
                  <a:lnTo>
                    <a:pt x="3335" y="1008"/>
                  </a:lnTo>
                  <a:lnTo>
                    <a:pt x="3360" y="1087"/>
                  </a:lnTo>
                  <a:lnTo>
                    <a:pt x="3379" y="1167"/>
                  </a:lnTo>
                  <a:lnTo>
                    <a:pt x="3396" y="1252"/>
                  </a:lnTo>
                  <a:lnTo>
                    <a:pt x="3406" y="1338"/>
                  </a:lnTo>
                  <a:lnTo>
                    <a:pt x="3414" y="1428"/>
                  </a:lnTo>
                  <a:lnTo>
                    <a:pt x="3416" y="1521"/>
                  </a:lnTo>
                  <a:lnTo>
                    <a:pt x="3414" y="1609"/>
                  </a:lnTo>
                  <a:lnTo>
                    <a:pt x="3408" y="1695"/>
                  </a:lnTo>
                  <a:lnTo>
                    <a:pt x="3398" y="1778"/>
                  </a:lnTo>
                  <a:lnTo>
                    <a:pt x="3385" y="1858"/>
                  </a:lnTo>
                  <a:lnTo>
                    <a:pt x="3369" y="1937"/>
                  </a:lnTo>
                  <a:lnTo>
                    <a:pt x="3348" y="2012"/>
                  </a:lnTo>
                  <a:lnTo>
                    <a:pt x="3323" y="2087"/>
                  </a:lnTo>
                  <a:lnTo>
                    <a:pt x="3295" y="2158"/>
                  </a:lnTo>
                  <a:lnTo>
                    <a:pt x="3264" y="2227"/>
                  </a:lnTo>
                  <a:lnTo>
                    <a:pt x="3231" y="2294"/>
                  </a:lnTo>
                  <a:lnTo>
                    <a:pt x="3195" y="2360"/>
                  </a:lnTo>
                  <a:lnTo>
                    <a:pt x="3158" y="2425"/>
                  </a:lnTo>
                  <a:lnTo>
                    <a:pt x="3120" y="2488"/>
                  </a:lnTo>
                  <a:lnTo>
                    <a:pt x="3078" y="2552"/>
                  </a:lnTo>
                  <a:lnTo>
                    <a:pt x="3035" y="2611"/>
                  </a:lnTo>
                  <a:lnTo>
                    <a:pt x="2991" y="2671"/>
                  </a:lnTo>
                  <a:lnTo>
                    <a:pt x="2897" y="2786"/>
                  </a:lnTo>
                  <a:lnTo>
                    <a:pt x="2799" y="2891"/>
                  </a:lnTo>
                  <a:lnTo>
                    <a:pt x="2699" y="2993"/>
                  </a:lnTo>
                  <a:lnTo>
                    <a:pt x="2596" y="3087"/>
                  </a:lnTo>
                  <a:lnTo>
                    <a:pt x="2492" y="3177"/>
                  </a:lnTo>
                  <a:lnTo>
                    <a:pt x="2390" y="3268"/>
                  </a:lnTo>
                  <a:lnTo>
                    <a:pt x="2294" y="3358"/>
                  </a:lnTo>
                  <a:lnTo>
                    <a:pt x="2200" y="3450"/>
                  </a:lnTo>
                  <a:lnTo>
                    <a:pt x="2156" y="3494"/>
                  </a:lnTo>
                  <a:lnTo>
                    <a:pt x="2112" y="3540"/>
                  </a:lnTo>
                  <a:lnTo>
                    <a:pt x="2072" y="3586"/>
                  </a:lnTo>
                  <a:lnTo>
                    <a:pt x="2033" y="3634"/>
                  </a:lnTo>
                  <a:lnTo>
                    <a:pt x="1995" y="3680"/>
                  </a:lnTo>
                  <a:lnTo>
                    <a:pt x="1960" y="3728"/>
                  </a:lnTo>
                  <a:lnTo>
                    <a:pt x="1928" y="3776"/>
                  </a:lnTo>
                  <a:lnTo>
                    <a:pt x="1897" y="3826"/>
                  </a:lnTo>
                  <a:lnTo>
                    <a:pt x="1868" y="3874"/>
                  </a:lnTo>
                  <a:lnTo>
                    <a:pt x="1843" y="3926"/>
                  </a:lnTo>
                  <a:lnTo>
                    <a:pt x="1822" y="3978"/>
                  </a:lnTo>
                  <a:lnTo>
                    <a:pt x="1805" y="4032"/>
                  </a:lnTo>
                  <a:lnTo>
                    <a:pt x="1793" y="4086"/>
                  </a:lnTo>
                  <a:lnTo>
                    <a:pt x="1784" y="4143"/>
                  </a:lnTo>
                  <a:lnTo>
                    <a:pt x="1778" y="4199"/>
                  </a:lnTo>
                  <a:lnTo>
                    <a:pt x="1776" y="4258"/>
                  </a:lnTo>
                  <a:lnTo>
                    <a:pt x="1778" y="4356"/>
                  </a:lnTo>
                  <a:lnTo>
                    <a:pt x="1787" y="4448"/>
                  </a:lnTo>
                  <a:lnTo>
                    <a:pt x="1805" y="4537"/>
                  </a:lnTo>
                  <a:lnTo>
                    <a:pt x="1826" y="4621"/>
                  </a:lnTo>
                  <a:lnTo>
                    <a:pt x="1851" y="4698"/>
                  </a:lnTo>
                  <a:lnTo>
                    <a:pt x="1878" y="4771"/>
                  </a:lnTo>
                  <a:lnTo>
                    <a:pt x="1903" y="4836"/>
                  </a:lnTo>
                  <a:lnTo>
                    <a:pt x="1928" y="4896"/>
                  </a:lnTo>
                  <a:lnTo>
                    <a:pt x="948" y="4896"/>
                  </a:lnTo>
                  <a:lnTo>
                    <a:pt x="937" y="4865"/>
                  </a:lnTo>
                  <a:lnTo>
                    <a:pt x="927" y="4832"/>
                  </a:lnTo>
                  <a:lnTo>
                    <a:pt x="918" y="4798"/>
                  </a:lnTo>
                  <a:lnTo>
                    <a:pt x="908" y="4761"/>
                  </a:lnTo>
                  <a:lnTo>
                    <a:pt x="898" y="4723"/>
                  </a:lnTo>
                  <a:lnTo>
                    <a:pt x="891" y="4681"/>
                  </a:lnTo>
                  <a:lnTo>
                    <a:pt x="881" y="4638"/>
                  </a:lnTo>
                  <a:lnTo>
                    <a:pt x="873" y="4592"/>
                  </a:lnTo>
                  <a:lnTo>
                    <a:pt x="860" y="4500"/>
                  </a:lnTo>
                  <a:lnTo>
                    <a:pt x="848" y="4408"/>
                  </a:lnTo>
                  <a:lnTo>
                    <a:pt x="843" y="4316"/>
                  </a:lnTo>
                  <a:lnTo>
                    <a:pt x="841" y="4226"/>
                  </a:lnTo>
                  <a:lnTo>
                    <a:pt x="843" y="4155"/>
                  </a:lnTo>
                  <a:lnTo>
                    <a:pt x="848" y="4087"/>
                  </a:lnTo>
                  <a:lnTo>
                    <a:pt x="856" y="4020"/>
                  </a:lnTo>
                  <a:lnTo>
                    <a:pt x="870" y="3955"/>
                  </a:lnTo>
                  <a:lnTo>
                    <a:pt x="885" y="3892"/>
                  </a:lnTo>
                  <a:lnTo>
                    <a:pt x="904" y="3830"/>
                  </a:lnTo>
                  <a:lnTo>
                    <a:pt x="929" y="3771"/>
                  </a:lnTo>
                  <a:lnTo>
                    <a:pt x="954" y="3711"/>
                  </a:lnTo>
                  <a:lnTo>
                    <a:pt x="1016" y="3600"/>
                  </a:lnTo>
                  <a:lnTo>
                    <a:pt x="1083" y="3490"/>
                  </a:lnTo>
                  <a:lnTo>
                    <a:pt x="1158" y="3385"/>
                  </a:lnTo>
                  <a:lnTo>
                    <a:pt x="1238" y="3281"/>
                  </a:lnTo>
                  <a:lnTo>
                    <a:pt x="1325" y="3183"/>
                  </a:lnTo>
                  <a:lnTo>
                    <a:pt x="1415" y="3085"/>
                  </a:lnTo>
                  <a:lnTo>
                    <a:pt x="1509" y="2989"/>
                  </a:lnTo>
                  <a:lnTo>
                    <a:pt x="1605" y="2897"/>
                  </a:lnTo>
                  <a:lnTo>
                    <a:pt x="1703" y="2803"/>
                  </a:lnTo>
                  <a:lnTo>
                    <a:pt x="1797" y="2713"/>
                  </a:lnTo>
                  <a:lnTo>
                    <a:pt x="1885" y="2623"/>
                  </a:lnTo>
                  <a:lnTo>
                    <a:pt x="1972" y="2534"/>
                  </a:lnTo>
                  <a:lnTo>
                    <a:pt x="2054" y="2444"/>
                  </a:lnTo>
                  <a:lnTo>
                    <a:pt x="2129" y="2352"/>
                  </a:lnTo>
                  <a:lnTo>
                    <a:pt x="2196" y="2258"/>
                  </a:lnTo>
                  <a:lnTo>
                    <a:pt x="2256" y="2162"/>
                  </a:lnTo>
                  <a:lnTo>
                    <a:pt x="2283" y="2112"/>
                  </a:lnTo>
                  <a:lnTo>
                    <a:pt x="2306" y="2062"/>
                  </a:lnTo>
                  <a:lnTo>
                    <a:pt x="2325" y="2010"/>
                  </a:lnTo>
                  <a:lnTo>
                    <a:pt x="2342" y="1958"/>
                  </a:lnTo>
                  <a:lnTo>
                    <a:pt x="2354" y="1905"/>
                  </a:lnTo>
                  <a:lnTo>
                    <a:pt x="2363" y="1849"/>
                  </a:lnTo>
                  <a:lnTo>
                    <a:pt x="2367" y="1791"/>
                  </a:lnTo>
                  <a:lnTo>
                    <a:pt x="2369" y="1734"/>
                  </a:lnTo>
                  <a:lnTo>
                    <a:pt x="2369" y="1684"/>
                  </a:lnTo>
                  <a:lnTo>
                    <a:pt x="2365" y="1634"/>
                  </a:lnTo>
                  <a:lnTo>
                    <a:pt x="2358" y="1586"/>
                  </a:lnTo>
                  <a:lnTo>
                    <a:pt x="2350" y="1538"/>
                  </a:lnTo>
                  <a:lnTo>
                    <a:pt x="2336" y="1494"/>
                  </a:lnTo>
                  <a:lnTo>
                    <a:pt x="2323" y="1451"/>
                  </a:lnTo>
                  <a:lnTo>
                    <a:pt x="2306" y="1409"/>
                  </a:lnTo>
                  <a:lnTo>
                    <a:pt x="2287" y="1369"/>
                  </a:lnTo>
                  <a:lnTo>
                    <a:pt x="2265" y="1330"/>
                  </a:lnTo>
                  <a:lnTo>
                    <a:pt x="2240" y="1294"/>
                  </a:lnTo>
                  <a:lnTo>
                    <a:pt x="2216" y="1259"/>
                  </a:lnTo>
                  <a:lnTo>
                    <a:pt x="2187" y="1227"/>
                  </a:lnTo>
                  <a:lnTo>
                    <a:pt x="2158" y="1194"/>
                  </a:lnTo>
                  <a:lnTo>
                    <a:pt x="2125" y="1165"/>
                  </a:lnTo>
                  <a:lnTo>
                    <a:pt x="2093" y="1137"/>
                  </a:lnTo>
                  <a:lnTo>
                    <a:pt x="2056" y="1110"/>
                  </a:lnTo>
                  <a:lnTo>
                    <a:pt x="1981" y="1060"/>
                  </a:lnTo>
                  <a:lnTo>
                    <a:pt x="1899" y="1018"/>
                  </a:lnTo>
                  <a:lnTo>
                    <a:pt x="1812" y="983"/>
                  </a:lnTo>
                  <a:lnTo>
                    <a:pt x="1722" y="954"/>
                  </a:lnTo>
                  <a:lnTo>
                    <a:pt x="1626" y="931"/>
                  </a:lnTo>
                  <a:lnTo>
                    <a:pt x="1526" y="916"/>
                  </a:lnTo>
                  <a:lnTo>
                    <a:pt x="1424" y="906"/>
                  </a:lnTo>
                  <a:lnTo>
                    <a:pt x="1319" y="902"/>
                  </a:lnTo>
                  <a:lnTo>
                    <a:pt x="1232" y="904"/>
                  </a:lnTo>
                  <a:lnTo>
                    <a:pt x="1148" y="912"/>
                  </a:lnTo>
                  <a:lnTo>
                    <a:pt x="1062" y="923"/>
                  </a:lnTo>
                  <a:lnTo>
                    <a:pt x="977" y="941"/>
                  </a:lnTo>
                  <a:lnTo>
                    <a:pt x="893" y="962"/>
                  </a:lnTo>
                  <a:lnTo>
                    <a:pt x="810" y="989"/>
                  </a:lnTo>
                  <a:lnTo>
                    <a:pt x="726" y="1021"/>
                  </a:lnTo>
                  <a:lnTo>
                    <a:pt x="643" y="1056"/>
                  </a:lnTo>
                  <a:lnTo>
                    <a:pt x="560" y="1098"/>
                  </a:lnTo>
                  <a:lnTo>
                    <a:pt x="480" y="1144"/>
                  </a:lnTo>
                  <a:lnTo>
                    <a:pt x="397" y="1194"/>
                  </a:lnTo>
                  <a:lnTo>
                    <a:pt x="317" y="1250"/>
                  </a:lnTo>
                  <a:lnTo>
                    <a:pt x="238" y="1311"/>
                  </a:lnTo>
                  <a:lnTo>
                    <a:pt x="157" y="1375"/>
                  </a:lnTo>
                  <a:lnTo>
                    <a:pt x="79" y="1446"/>
                  </a:lnTo>
                  <a:lnTo>
                    <a:pt x="0" y="1521"/>
                  </a:lnTo>
                  <a:lnTo>
                    <a:pt x="0" y="447"/>
                  </a:lnTo>
                  <a:lnTo>
                    <a:pt x="96" y="394"/>
                  </a:lnTo>
                  <a:lnTo>
                    <a:pt x="192" y="342"/>
                  </a:lnTo>
                  <a:lnTo>
                    <a:pt x="288" y="296"/>
                  </a:lnTo>
                  <a:lnTo>
                    <a:pt x="384" y="252"/>
                  </a:lnTo>
                  <a:lnTo>
                    <a:pt x="482" y="211"/>
                  </a:lnTo>
                  <a:lnTo>
                    <a:pt x="580" y="175"/>
                  </a:lnTo>
                  <a:lnTo>
                    <a:pt x="678" y="142"/>
                  </a:lnTo>
                  <a:lnTo>
                    <a:pt x="776" y="113"/>
                  </a:lnTo>
                  <a:lnTo>
                    <a:pt x="875" y="86"/>
                  </a:lnTo>
                  <a:lnTo>
                    <a:pt x="973" y="63"/>
                  </a:lnTo>
                  <a:lnTo>
                    <a:pt x="1073" y="44"/>
                  </a:lnTo>
                  <a:lnTo>
                    <a:pt x="1175" y="29"/>
                  </a:lnTo>
                  <a:lnTo>
                    <a:pt x="1275" y="17"/>
                  </a:lnTo>
                  <a:lnTo>
                    <a:pt x="1376" y="8"/>
                  </a:lnTo>
                  <a:lnTo>
                    <a:pt x="1478" y="2"/>
                  </a:lnTo>
                  <a:lnTo>
                    <a:pt x="1580" y="0"/>
                  </a:lnTo>
                  <a:lnTo>
                    <a:pt x="1580" y="0"/>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47" name="Group 127"/>
            <p:cNvGrpSpPr/>
            <p:nvPr/>
          </p:nvGrpSpPr>
          <p:grpSpPr bwMode="black">
            <a:xfrm>
              <a:off x="9129869" y="4013129"/>
              <a:ext cx="224537" cy="217941"/>
              <a:chOff x="8754070" y="3848870"/>
              <a:chExt cx="195501" cy="189808"/>
            </a:xfrm>
            <a:solidFill>
              <a:schemeClr val="accent3"/>
            </a:solidFill>
          </p:grpSpPr>
          <p:sp>
            <p:nvSpPr>
              <p:cNvPr id="6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48" name="Group 128"/>
            <p:cNvGrpSpPr/>
            <p:nvPr/>
          </p:nvGrpSpPr>
          <p:grpSpPr bwMode="black">
            <a:xfrm>
              <a:off x="10761928" y="2798698"/>
              <a:ext cx="169765" cy="164777"/>
              <a:chOff x="8754070" y="3848870"/>
              <a:chExt cx="195501" cy="189808"/>
            </a:xfrm>
            <a:solidFill>
              <a:schemeClr val="accent3"/>
            </a:solidFill>
          </p:grpSpPr>
          <p:sp>
            <p:nvSpPr>
              <p:cNvPr id="60"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1"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2"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49" name="Group 129"/>
            <p:cNvGrpSpPr/>
            <p:nvPr/>
          </p:nvGrpSpPr>
          <p:grpSpPr bwMode="black">
            <a:xfrm>
              <a:off x="11480048" y="4331698"/>
              <a:ext cx="258282" cy="250695"/>
              <a:chOff x="8754070" y="3848870"/>
              <a:chExt cx="195501" cy="189808"/>
            </a:xfrm>
            <a:solidFill>
              <a:schemeClr val="accent3"/>
            </a:solidFill>
          </p:grpSpPr>
          <p:sp>
            <p:nvSpPr>
              <p:cNvPr id="57"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5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5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50" name="Rectangle 78"/>
            <p:cNvSpPr/>
            <p:nvPr/>
          </p:nvSpPr>
          <p:spPr bwMode="auto">
            <a:xfrm rot="10800000">
              <a:off x="10192541" y="169731"/>
              <a:ext cx="1078067" cy="635836"/>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4" fmla="*/ 0 w 2549095"/>
                <a:gd name="connsiteY4" fmla="*/ 855488 h 86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095" h="866096">
                  <a:moveTo>
                    <a:pt x="0" y="855488"/>
                  </a:moveTo>
                  <a:lnTo>
                    <a:pt x="0" y="0"/>
                  </a:lnTo>
                  <a:lnTo>
                    <a:pt x="2544741" y="0"/>
                  </a:lnTo>
                  <a:cubicBezTo>
                    <a:pt x="2544741" y="285163"/>
                    <a:pt x="2549095" y="866096"/>
                    <a:pt x="2549095" y="866096"/>
                  </a:cubicBezTo>
                  <a:lnTo>
                    <a:pt x="0" y="855488"/>
                  </a:lnTo>
                  <a:close/>
                </a:path>
              </a:pathLst>
            </a:custGeom>
            <a:solidFill>
              <a:schemeClr val="bg1"/>
            </a:solidFill>
            <a:ln w="381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Freeform 74"/>
            <p:cNvSpPr>
              <a:spLocks noEditPoints="1"/>
            </p:cNvSpPr>
            <p:nvPr/>
          </p:nvSpPr>
          <p:spPr bwMode="black">
            <a:xfrm>
              <a:off x="10571374" y="191043"/>
              <a:ext cx="609623" cy="52146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1"/>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88"/>
            <p:cNvSpPr>
              <a:spLocks noEditPoints="1"/>
            </p:cNvSpPr>
            <p:nvPr/>
          </p:nvSpPr>
          <p:spPr bwMode="auto">
            <a:xfrm>
              <a:off x="10286499" y="459125"/>
              <a:ext cx="311801" cy="26447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3"/>
            </a:solidFill>
            <a:ln w="25400"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l" defTabSz="806586" rtl="0" eaLnBrk="1" fontAlgn="auto" latinLnBrk="1" hangingPunct="1">
                <a:lnSpc>
                  <a:spcPct val="100000"/>
                </a:lnSpc>
                <a:spcBef>
                  <a:spcPts val="0"/>
                </a:spcBef>
                <a:spcAft>
                  <a:spcPts val="0"/>
                </a:spcAft>
                <a:buClrTx/>
                <a:buSzTx/>
                <a:buFontTx/>
                <a:buNone/>
                <a:tabLst/>
                <a:defRPr/>
              </a:pPr>
              <a:endParaRPr kumimoji="0" lang="en-US" sz="2157" b="0" i="0" u="none" strike="noStrike" kern="0" cap="none" spc="-132" normalizeH="0" baseline="0" noProof="0" dirty="0">
                <a:ln>
                  <a:noFill/>
                </a:ln>
                <a:solidFill>
                  <a:srgbClr val="000000">
                    <a:alpha val="99000"/>
                  </a:srgbClr>
                </a:solidFill>
                <a:effectLst/>
                <a:uLnTx/>
                <a:uFillTx/>
                <a:latin typeface="Segoe UI"/>
                <a:ea typeface="+mn-ea"/>
                <a:cs typeface="+mn-cs"/>
                <a:sym typeface="Segoe UI"/>
              </a:endParaRPr>
            </a:p>
          </p:txBody>
        </p:sp>
        <p:grpSp>
          <p:nvGrpSpPr>
            <p:cNvPr id="53" name="Group 134"/>
            <p:cNvGrpSpPr/>
            <p:nvPr/>
          </p:nvGrpSpPr>
          <p:grpSpPr>
            <a:xfrm rot="5400000">
              <a:off x="11894264" y="3458260"/>
              <a:ext cx="670991" cy="186017"/>
              <a:chOff x="10576225" y="1124579"/>
              <a:chExt cx="607702" cy="168471"/>
            </a:xfrm>
            <a:solidFill>
              <a:schemeClr val="accent1"/>
            </a:solidFill>
          </p:grpSpPr>
          <p:sp>
            <p:nvSpPr>
              <p:cNvPr id="55"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00188F"/>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56" name="Oval 46"/>
              <p:cNvSpPr>
                <a:spLocks noChangeArrowheads="1"/>
              </p:cNvSpPr>
              <p:nvPr/>
            </p:nvSpPr>
            <p:spPr bwMode="auto">
              <a:xfrm rot="16200000">
                <a:off x="11080094" y="1184977"/>
                <a:ext cx="47676" cy="47676"/>
              </a:xfrm>
              <a:prstGeom prst="ellipse">
                <a:avLst/>
              </a:prstGeom>
              <a:solidFill>
                <a:srgbClr val="00188F"/>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sp>
          <p:nvSpPr>
            <p:cNvPr id="54" name="Freeform 135"/>
            <p:cNvSpPr/>
            <p:nvPr/>
          </p:nvSpPr>
          <p:spPr bwMode="auto">
            <a:xfrm rot="1813230">
              <a:off x="11332024" y="4794092"/>
              <a:ext cx="264822" cy="213770"/>
            </a:xfrm>
            <a:custGeom>
              <a:avLst/>
              <a:gdLst>
                <a:gd name="connsiteX0" fmla="*/ 185163 w 353329"/>
                <a:gd name="connsiteY0" fmla="*/ 8087 h 285215"/>
                <a:gd name="connsiteX1" fmla="*/ 266438 w 353329"/>
                <a:gd name="connsiteY1" fmla="*/ 29529 h 285215"/>
                <a:gd name="connsiteX2" fmla="*/ 244995 w 353329"/>
                <a:gd name="connsiteY2" fmla="*/ 110804 h 285215"/>
                <a:gd name="connsiteX3" fmla="*/ 179402 w 353329"/>
                <a:gd name="connsiteY3" fmla="*/ 107001 h 285215"/>
                <a:gd name="connsiteX4" fmla="*/ 176872 w 353329"/>
                <a:gd name="connsiteY4" fmla="*/ 104156 h 285215"/>
                <a:gd name="connsiteX5" fmla="*/ 105920 w 353329"/>
                <a:gd name="connsiteY5" fmla="*/ 190360 h 285215"/>
                <a:gd name="connsiteX6" fmla="*/ 110804 w 353329"/>
                <a:gd name="connsiteY6" fmla="*/ 195854 h 285215"/>
                <a:gd name="connsiteX7" fmla="*/ 113808 w 353329"/>
                <a:gd name="connsiteY7" fmla="*/ 218005 h 285215"/>
                <a:gd name="connsiteX8" fmla="*/ 235589 w 353329"/>
                <a:gd name="connsiteY8" fmla="*/ 218005 h 285215"/>
                <a:gd name="connsiteX9" fmla="*/ 236413 w 353329"/>
                <a:gd name="connsiteY9" fmla="*/ 205488 h 285215"/>
                <a:gd name="connsiteX10" fmla="*/ 263967 w 353329"/>
                <a:gd name="connsiteY10" fmla="*/ 169291 h 285215"/>
                <a:gd name="connsiteX11" fmla="*/ 345241 w 353329"/>
                <a:gd name="connsiteY11" fmla="*/ 190734 h 285215"/>
                <a:gd name="connsiteX12" fmla="*/ 323799 w 353329"/>
                <a:gd name="connsiteY12" fmla="*/ 272008 h 285215"/>
                <a:gd name="connsiteX13" fmla="*/ 242525 w 353329"/>
                <a:gd name="connsiteY13" fmla="*/ 250565 h 285215"/>
                <a:gd name="connsiteX14" fmla="*/ 240778 w 353329"/>
                <a:gd name="connsiteY14" fmla="*/ 245437 h 285215"/>
                <a:gd name="connsiteX15" fmla="*/ 114738 w 353329"/>
                <a:gd name="connsiteY15" fmla="*/ 245437 h 285215"/>
                <a:gd name="connsiteX16" fmla="*/ 107002 w 353329"/>
                <a:gd name="connsiteY16" fmla="*/ 261448 h 285215"/>
                <a:gd name="connsiteX17" fmla="*/ 89362 w 353329"/>
                <a:gd name="connsiteY17" fmla="*/ 277128 h 285215"/>
                <a:gd name="connsiteX18" fmla="*/ 8087 w 353329"/>
                <a:gd name="connsiteY18" fmla="*/ 255685 h 285215"/>
                <a:gd name="connsiteX19" fmla="*/ 29530 w 353329"/>
                <a:gd name="connsiteY19" fmla="*/ 174411 h 285215"/>
                <a:gd name="connsiteX20" fmla="*/ 74608 w 353329"/>
                <a:gd name="connsiteY20" fmla="*/ 168300 h 285215"/>
                <a:gd name="connsiteX21" fmla="*/ 84581 w 353329"/>
                <a:gd name="connsiteY21" fmla="*/ 173119 h 285215"/>
                <a:gd name="connsiteX22" fmla="*/ 160736 w 353329"/>
                <a:gd name="connsiteY22" fmla="*/ 80595 h 285215"/>
                <a:gd name="connsiteX23" fmla="*/ 156112 w 353329"/>
                <a:gd name="connsiteY23" fmla="*/ 67019 h 285215"/>
                <a:gd name="connsiteX24" fmla="*/ 185163 w 353329"/>
                <a:gd name="connsiteY24" fmla="*/ 8087 h 2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3329" h="285215">
                  <a:moveTo>
                    <a:pt x="185163" y="8087"/>
                  </a:moveTo>
                  <a:cubicBezTo>
                    <a:pt x="213528" y="-8435"/>
                    <a:pt x="249915" y="1165"/>
                    <a:pt x="266438" y="29529"/>
                  </a:cubicBezTo>
                  <a:cubicBezTo>
                    <a:pt x="282960" y="57894"/>
                    <a:pt x="273360" y="94281"/>
                    <a:pt x="244995" y="110804"/>
                  </a:cubicBezTo>
                  <a:cubicBezTo>
                    <a:pt x="223722" y="123195"/>
                    <a:pt x="197936" y="120893"/>
                    <a:pt x="179402" y="107001"/>
                  </a:cubicBezTo>
                  <a:lnTo>
                    <a:pt x="176872" y="104156"/>
                  </a:lnTo>
                  <a:lnTo>
                    <a:pt x="105920" y="190360"/>
                  </a:lnTo>
                  <a:lnTo>
                    <a:pt x="110804" y="195854"/>
                  </a:lnTo>
                  <a:lnTo>
                    <a:pt x="113808" y="218005"/>
                  </a:lnTo>
                  <a:lnTo>
                    <a:pt x="235589" y="218005"/>
                  </a:lnTo>
                  <a:lnTo>
                    <a:pt x="236413" y="205488"/>
                  </a:lnTo>
                  <a:cubicBezTo>
                    <a:pt x="240293" y="190780"/>
                    <a:pt x="249785" y="177552"/>
                    <a:pt x="263967" y="169291"/>
                  </a:cubicBezTo>
                  <a:cubicBezTo>
                    <a:pt x="292332" y="152769"/>
                    <a:pt x="328719" y="162369"/>
                    <a:pt x="345241" y="190734"/>
                  </a:cubicBezTo>
                  <a:cubicBezTo>
                    <a:pt x="361764" y="219098"/>
                    <a:pt x="352164" y="255486"/>
                    <a:pt x="323799" y="272008"/>
                  </a:cubicBezTo>
                  <a:cubicBezTo>
                    <a:pt x="295434" y="288530"/>
                    <a:pt x="259047" y="278930"/>
                    <a:pt x="242525" y="250565"/>
                  </a:cubicBezTo>
                  <a:lnTo>
                    <a:pt x="240778" y="245437"/>
                  </a:lnTo>
                  <a:lnTo>
                    <a:pt x="114738" y="245437"/>
                  </a:lnTo>
                  <a:lnTo>
                    <a:pt x="107002" y="261448"/>
                  </a:lnTo>
                  <a:cubicBezTo>
                    <a:pt x="102372" y="267625"/>
                    <a:pt x="96453" y="272997"/>
                    <a:pt x="89362" y="277128"/>
                  </a:cubicBezTo>
                  <a:cubicBezTo>
                    <a:pt x="60997" y="293650"/>
                    <a:pt x="24610" y="284050"/>
                    <a:pt x="8087" y="255685"/>
                  </a:cubicBezTo>
                  <a:cubicBezTo>
                    <a:pt x="-8435" y="227321"/>
                    <a:pt x="1165" y="190933"/>
                    <a:pt x="29530" y="174411"/>
                  </a:cubicBezTo>
                  <a:cubicBezTo>
                    <a:pt x="43712" y="166150"/>
                    <a:pt x="59900" y="164419"/>
                    <a:pt x="74608" y="168300"/>
                  </a:cubicBezTo>
                  <a:lnTo>
                    <a:pt x="84581" y="173119"/>
                  </a:lnTo>
                  <a:lnTo>
                    <a:pt x="160736" y="80595"/>
                  </a:lnTo>
                  <a:lnTo>
                    <a:pt x="156112" y="67019"/>
                  </a:lnTo>
                  <a:cubicBezTo>
                    <a:pt x="153172" y="44044"/>
                    <a:pt x="163890" y="20478"/>
                    <a:pt x="185163" y="8087"/>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7" name="Freeform 176"/>
          <p:cNvSpPr>
            <a:spLocks/>
          </p:cNvSpPr>
          <p:nvPr/>
        </p:nvSpPr>
        <p:spPr bwMode="black">
          <a:xfrm>
            <a:off x="6664437" y="1983329"/>
            <a:ext cx="474143" cy="293938"/>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noAutofit/>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89" name="직사각형 88"/>
          <p:cNvSpPr/>
          <p:nvPr/>
        </p:nvSpPr>
        <p:spPr>
          <a:xfrm>
            <a:off x="415366" y="516228"/>
            <a:ext cx="6634916" cy="1754326"/>
          </a:xfrm>
          <a:prstGeom prst="rect">
            <a:avLst/>
          </a:prstGeom>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3600" b="1" noProof="0" dirty="0">
                <a:solidFill>
                  <a:srgbClr val="0072C6">
                    <a:lumMod val="75000"/>
                  </a:srgbClr>
                </a:solidFill>
                <a:latin typeface="Segoe UI"/>
              </a:rPr>
              <a:t>서브라임텍스트 대신</a:t>
            </a:r>
            <a:endParaRPr lang="en-US" altLang="ko-KR" sz="3600" b="1" noProof="0" dirty="0">
              <a:solidFill>
                <a:srgbClr val="0072C6">
                  <a:lumMod val="75000"/>
                </a:srgbClr>
              </a:solidFill>
              <a:latin typeface="Segoe UI"/>
            </a:endParaRPr>
          </a:p>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3600" b="1" i="0" u="none" strike="noStrike" kern="1200" cap="none" spc="0" normalizeH="0" baseline="0" dirty="0">
                <a:ln>
                  <a:noFill/>
                </a:ln>
                <a:solidFill>
                  <a:srgbClr val="0072C6">
                    <a:lumMod val="75000"/>
                  </a:srgbClr>
                </a:solidFill>
                <a:effectLst/>
                <a:uLnTx/>
                <a:uFillTx/>
                <a:latin typeface="Segoe UI"/>
                <a:ea typeface="+mn-ea"/>
                <a:cs typeface="+mn-cs"/>
              </a:rPr>
              <a:t>Visual Studio Code</a:t>
            </a:r>
            <a:r>
              <a:rPr kumimoji="0" lang="ko-KR" altLang="en-US" sz="3600" b="1" i="0" u="none" strike="noStrike" kern="1200" cap="none" spc="0" normalizeH="0" baseline="0" dirty="0">
                <a:ln>
                  <a:noFill/>
                </a:ln>
                <a:solidFill>
                  <a:srgbClr val="0072C6">
                    <a:lumMod val="75000"/>
                  </a:srgbClr>
                </a:solidFill>
                <a:effectLst/>
                <a:uLnTx/>
                <a:uFillTx/>
                <a:latin typeface="Segoe UI"/>
                <a:ea typeface="+mn-ea"/>
                <a:cs typeface="+mn-cs"/>
              </a:rPr>
              <a:t>로</a:t>
            </a:r>
            <a:endParaRPr kumimoji="0" lang="en-US" altLang="ko-KR" sz="3600" b="1" i="0" u="none" strike="noStrike" kern="1200" cap="none" spc="0" normalizeH="0" baseline="0" dirty="0">
              <a:ln>
                <a:noFill/>
              </a:ln>
              <a:solidFill>
                <a:srgbClr val="0072C6">
                  <a:lumMod val="75000"/>
                </a:srgbClr>
              </a:solidFill>
              <a:effectLst/>
              <a:uLnTx/>
              <a:uFillTx/>
              <a:latin typeface="Segoe UI"/>
              <a:ea typeface="+mn-ea"/>
              <a:cs typeface="+mn-cs"/>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3600" b="1" noProof="0" dirty="0">
                <a:solidFill>
                  <a:srgbClr val="0072C6">
                    <a:lumMod val="75000"/>
                  </a:srgbClr>
                </a:solidFill>
                <a:latin typeface="Segoe UI"/>
              </a:rPr>
              <a:t>만들어 보는 웹 환경</a:t>
            </a:r>
            <a:endParaRPr kumimoji="0" lang="en-US" altLang="ko-KR" sz="3600" b="1" i="0" u="none" strike="noStrike" kern="1200" cap="none" spc="0" normalizeH="0" baseline="0" noProof="0" dirty="0">
              <a:ln>
                <a:noFill/>
              </a:ln>
              <a:solidFill>
                <a:srgbClr val="0072C6">
                  <a:lumMod val="75000"/>
                </a:srgbClr>
              </a:solidFill>
              <a:effectLst/>
              <a:uLnTx/>
              <a:uFillTx/>
              <a:latin typeface="Segoe UI"/>
              <a:ea typeface="+mn-ea"/>
              <a:cs typeface="+mn-cs"/>
            </a:endParaRPr>
          </a:p>
        </p:txBody>
      </p:sp>
      <p:sp>
        <p:nvSpPr>
          <p:cNvPr id="2" name="TextBox 1"/>
          <p:cNvSpPr txBox="1"/>
          <p:nvPr/>
        </p:nvSpPr>
        <p:spPr>
          <a:xfrm>
            <a:off x="487724" y="3114346"/>
            <a:ext cx="4387611" cy="2376035"/>
          </a:xfrm>
          <a:prstGeom prst="rect">
            <a:avLst/>
          </a:prstGeom>
          <a:noFill/>
        </p:spPr>
        <p:txBody>
          <a:bodyPr wrap="none" lIns="182880" tIns="146304" rIns="182880" bIns="146304" rtlCol="0">
            <a:spAutoFit/>
          </a:bodyPr>
          <a:lstStyle/>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김영욱 </a:t>
            </a:r>
            <a:r>
              <a:rPr kumimoji="0" lang="en-US" altLang="ko-KR"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echnical Evangelist</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부장</a:t>
            </a:r>
            <a:r>
              <a:rPr kumimoji="0" lang="en-US" altLang="ko-KR"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X / Microsoft</a:t>
            </a:r>
          </a:p>
          <a:p>
            <a:pPr marL="0" marR="0" lvl="0" indent="0" algn="l" defTabSz="914400" rtl="0" eaLnBrk="1" fontAlgn="auto" latinLnBrk="1"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ngwook@outlook.com</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log: Youngwook.com </a:t>
            </a:r>
          </a:p>
        </p:txBody>
      </p:sp>
    </p:spTree>
    <p:extLst>
      <p:ext uri="{BB962C8B-B14F-4D97-AF65-F5344CB8AC3E}">
        <p14:creationId xmlns:p14="http://schemas.microsoft.com/office/powerpoint/2010/main" val="2564697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1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1500"/>
                                        <p:tgtEl>
                                          <p:spTgt spid="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down)">
                                      <p:cBhvr>
                                        <p:cTn id="13" dur="1500"/>
                                        <p:tgtEl>
                                          <p:spTgt spid="1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down)">
                                      <p:cBhvr>
                                        <p:cTn id="16" dur="1500"/>
                                        <p:tgtEl>
                                          <p:spTgt spid="9"/>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1500"/>
                                        <p:tgtEl>
                                          <p:spTgt spid="11"/>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1500"/>
                                        <p:tgtEl>
                                          <p:spTgt spid="12"/>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down)">
                                      <p:cBhvr>
                                        <p:cTn id="25" dur="1500"/>
                                        <p:tgtEl>
                                          <p:spTgt spid="15"/>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down)">
                                      <p:cBhvr>
                                        <p:cTn id="28" dur="1500"/>
                                        <p:tgtEl>
                                          <p:spTgt spid="10"/>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up)">
                                      <p:cBhvr>
                                        <p:cTn id="31" dur="1500"/>
                                        <p:tgtEl>
                                          <p:spTgt spid="17"/>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87"/>
                                        </p:tgtEl>
                                        <p:attrNameLst>
                                          <p:attrName>style.visibility</p:attrName>
                                        </p:attrNameLst>
                                      </p:cBhvr>
                                      <p:to>
                                        <p:strVal val="visible"/>
                                      </p:to>
                                    </p:set>
                                    <p:animEffect transition="in" filter="fade">
                                      <p:cBhvr>
                                        <p:cTn id="34" dur="500"/>
                                        <p:tgtEl>
                                          <p:spTgt spid="87"/>
                                        </p:tgtEl>
                                      </p:cBhvr>
                                    </p:animEffect>
                                  </p:childTnLst>
                                </p:cTn>
                              </p:par>
                              <p:par>
                                <p:cTn id="35" presetID="22" presetClass="entr" presetSubtype="2" fill="hold" nodeType="withEffect">
                                  <p:stCondLst>
                                    <p:cond delay="1500"/>
                                  </p:stCondLst>
                                  <p:childTnLst>
                                    <p:set>
                                      <p:cBhvr>
                                        <p:cTn id="36" dur="1" fill="hold">
                                          <p:stCondLst>
                                            <p:cond delay="0"/>
                                          </p:stCondLst>
                                        </p:cTn>
                                        <p:tgtEl>
                                          <p:spTgt spid="18"/>
                                        </p:tgtEl>
                                        <p:attrNameLst>
                                          <p:attrName>style.visibility</p:attrName>
                                        </p:attrNameLst>
                                      </p:cBhvr>
                                      <p:to>
                                        <p:strVal val="visible"/>
                                      </p:to>
                                    </p:set>
                                    <p:animEffect transition="in" filter="wipe(right)">
                                      <p:cBhvr>
                                        <p:cTn id="37" dur="1000"/>
                                        <p:tgtEl>
                                          <p:spTgt spid="1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left)">
                                      <p:cBhvr>
                                        <p:cTn id="40" dur="1000"/>
                                        <p:tgtEl>
                                          <p:spTgt spid="16"/>
                                        </p:tgtEl>
                                      </p:cBhvr>
                                    </p:animEffect>
                                  </p:childTnLst>
                                </p:cTn>
                              </p:par>
                              <p:par>
                                <p:cTn id="41" presetID="10" presetClass="entr" presetSubtype="0" fill="hold" nodeType="withEffect">
                                  <p:stCondLst>
                                    <p:cond delay="15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64" presetClass="path" presetSubtype="0" accel="50000" decel="50000" fill="hold" nodeType="withEffect">
                                  <p:stCondLst>
                                    <p:cond delay="0"/>
                                  </p:stCondLst>
                                  <p:childTnLst>
                                    <p:animMotion origin="layout" path="M 0.00205 -0.11689 L -4.44218E-6 3.60872E-6 " pathEditMode="relative" rAng="0" ptsTypes="AA">
                                      <p:cBhvr>
                                        <p:cTn id="45" dur="1000" fill="hold"/>
                                        <p:tgtEl>
                                          <p:spTgt spid="21"/>
                                        </p:tgtEl>
                                        <p:attrNameLst>
                                          <p:attrName>ppt_x</p:attrName>
                                          <p:attrName>ppt_y</p:attrName>
                                        </p:attrNameLst>
                                      </p:cBhvr>
                                      <p:rCtr x="-102" y="58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8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84078" y="2652483"/>
            <a:ext cx="6494508" cy="1835404"/>
          </a:xfrm>
        </p:spPr>
        <p:txBody>
          <a:bodyPr/>
          <a:lstStyle/>
          <a:p>
            <a:r>
              <a:rPr lang="en-US" sz="5882" dirty="0"/>
              <a:t>Monaco Editor</a:t>
            </a:r>
            <a:endParaRPr lang="en-US" sz="3921" dirty="0"/>
          </a:p>
        </p:txBody>
      </p:sp>
    </p:spTree>
    <p:extLst>
      <p:ext uri="{BB962C8B-B14F-4D97-AF65-F5344CB8AC3E}">
        <p14:creationId xmlns:p14="http://schemas.microsoft.com/office/powerpoint/2010/main" val="108859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817216" y="419527"/>
            <a:ext cx="8557570" cy="4813634"/>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2850816" y="5735563"/>
            <a:ext cx="6642746" cy="834654"/>
          </a:xfrm>
          <a:prstGeom prst="rect">
            <a:avLst/>
          </a:prstGeom>
        </p:spPr>
      </p:pic>
    </p:spTree>
    <p:extLst>
      <p:ext uri="{BB962C8B-B14F-4D97-AF65-F5344CB8AC3E}">
        <p14:creationId xmlns:p14="http://schemas.microsoft.com/office/powerpoint/2010/main" val="308552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817216" y="419528"/>
            <a:ext cx="8557570" cy="4811128"/>
          </a:xfrm>
          <a:prstGeom prst="rect">
            <a:avLst/>
          </a:prstGeom>
          <a:ln>
            <a:noFill/>
          </a:ln>
          <a:effectLst>
            <a:outerShdw blurRad="190500" algn="tl" rotWithShape="0">
              <a:srgbClr val="000000">
                <a:alpha val="70000"/>
              </a:srgbClr>
            </a:outerShdw>
          </a:effectLst>
        </p:spPr>
      </p:pic>
      <p:pic>
        <p:nvPicPr>
          <p:cNvPr id="4098" name="Picture 2" descr="http://www.edsquared.com/content/binary/Windows-Live-Writer/Announcing-Visual-Studio-Online_AD/Visual%20Studio%20Online%20Logo_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78434" y="5524203"/>
            <a:ext cx="5635133" cy="1168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443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103327" y="377279"/>
            <a:ext cx="1894123" cy="1476282"/>
            <a:chOff x="89633" y="256903"/>
            <a:chExt cx="1932104" cy="1505885"/>
          </a:xfrm>
        </p:grpSpPr>
        <p:pic>
          <p:nvPicPr>
            <p:cNvPr id="3074" name="Picture 2" descr="IntelliSens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573" y="256903"/>
              <a:ext cx="1780164" cy="10081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9633" y="1190324"/>
              <a:ext cx="1696373"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IntelliSense</a:t>
              </a:r>
            </a:p>
          </p:txBody>
        </p:sp>
      </p:grpSp>
      <p:grpSp>
        <p:nvGrpSpPr>
          <p:cNvPr id="21" name="Group 20"/>
          <p:cNvGrpSpPr/>
          <p:nvPr/>
        </p:nvGrpSpPr>
        <p:grpSpPr>
          <a:xfrm>
            <a:off x="5267031" y="190656"/>
            <a:ext cx="3912936" cy="1065158"/>
            <a:chOff x="2175437" y="256903"/>
            <a:chExt cx="3991399" cy="1086517"/>
          </a:xfrm>
        </p:grpSpPr>
        <p:pic>
          <p:nvPicPr>
            <p:cNvPr id="3076" name="Picture 4" descr="Parameter Hi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42935" y="256903"/>
              <a:ext cx="3823901" cy="6223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175437" y="770956"/>
              <a:ext cx="2736304"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parameter hints</a:t>
              </a:r>
            </a:p>
          </p:txBody>
        </p:sp>
      </p:grpSp>
      <p:grpSp>
        <p:nvGrpSpPr>
          <p:cNvPr id="19" name="Group 18"/>
          <p:cNvGrpSpPr/>
          <p:nvPr/>
        </p:nvGrpSpPr>
        <p:grpSpPr>
          <a:xfrm>
            <a:off x="9307408" y="71553"/>
            <a:ext cx="3310516" cy="1841878"/>
            <a:chOff x="8095361" y="246375"/>
            <a:chExt cx="3376899" cy="1878812"/>
          </a:xfrm>
        </p:grpSpPr>
        <p:pic>
          <p:nvPicPr>
            <p:cNvPr id="3078" name="Picture 6" descr="Ctrl Hov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4461" y="246375"/>
              <a:ext cx="2595564" cy="133737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095361" y="1552723"/>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goto definition/preview</a:t>
              </a:r>
            </a:p>
          </p:txBody>
        </p:sp>
      </p:grpSp>
      <p:grpSp>
        <p:nvGrpSpPr>
          <p:cNvPr id="27" name="Group 26"/>
          <p:cNvGrpSpPr/>
          <p:nvPr/>
        </p:nvGrpSpPr>
        <p:grpSpPr>
          <a:xfrm>
            <a:off x="16695" y="2211109"/>
            <a:ext cx="3310516" cy="1633122"/>
            <a:chOff x="1793" y="2043584"/>
            <a:chExt cx="3376899" cy="1665870"/>
          </a:xfrm>
        </p:grpSpPr>
        <p:pic>
          <p:nvPicPr>
            <p:cNvPr id="4" name="Picture 3"/>
            <p:cNvPicPr>
              <a:picLocks noChangeAspect="1"/>
            </p:cNvPicPr>
            <p:nvPr/>
          </p:nvPicPr>
          <p:blipFill>
            <a:blip r:embed="rId6"/>
            <a:stretch>
              <a:fillRect/>
            </a:stretch>
          </p:blipFill>
          <p:spPr>
            <a:xfrm>
              <a:off x="241573" y="2043584"/>
              <a:ext cx="2069543" cy="1174966"/>
            </a:xfrm>
            <a:prstGeom prst="rect">
              <a:avLst/>
            </a:prstGeom>
          </p:spPr>
        </p:pic>
        <p:sp>
          <p:nvSpPr>
            <p:cNvPr id="10" name="TextBox 9"/>
            <p:cNvSpPr txBox="1"/>
            <p:nvPr/>
          </p:nvSpPr>
          <p:spPr>
            <a:xfrm>
              <a:off x="1793" y="3136990"/>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goto symbol in file</a:t>
              </a:r>
            </a:p>
          </p:txBody>
        </p:sp>
      </p:grpSp>
      <p:grpSp>
        <p:nvGrpSpPr>
          <p:cNvPr id="23" name="Group 22"/>
          <p:cNvGrpSpPr/>
          <p:nvPr/>
        </p:nvGrpSpPr>
        <p:grpSpPr>
          <a:xfrm>
            <a:off x="2760665" y="568391"/>
            <a:ext cx="3310516" cy="1903736"/>
            <a:chOff x="3002972" y="1586308"/>
            <a:chExt cx="3376899" cy="1941910"/>
          </a:xfrm>
        </p:grpSpPr>
        <p:pic>
          <p:nvPicPr>
            <p:cNvPr id="5" name="Picture 4"/>
            <p:cNvPicPr>
              <a:picLocks noChangeAspect="1"/>
            </p:cNvPicPr>
            <p:nvPr/>
          </p:nvPicPr>
          <p:blipFill>
            <a:blip r:embed="rId7"/>
            <a:stretch>
              <a:fillRect/>
            </a:stretch>
          </p:blipFill>
          <p:spPr>
            <a:xfrm>
              <a:off x="3073602" y="1586308"/>
              <a:ext cx="2126301" cy="1449903"/>
            </a:xfrm>
            <a:prstGeom prst="rect">
              <a:avLst/>
            </a:prstGeom>
          </p:spPr>
        </p:pic>
        <p:sp>
          <p:nvSpPr>
            <p:cNvPr id="12" name="TextBox 11"/>
            <p:cNvSpPr txBox="1"/>
            <p:nvPr/>
          </p:nvSpPr>
          <p:spPr>
            <a:xfrm>
              <a:off x="3002972" y="2955754"/>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goto any symbol</a:t>
              </a:r>
            </a:p>
          </p:txBody>
        </p:sp>
      </p:grpSp>
      <p:grpSp>
        <p:nvGrpSpPr>
          <p:cNvPr id="17" name="Group 16"/>
          <p:cNvGrpSpPr/>
          <p:nvPr/>
        </p:nvGrpSpPr>
        <p:grpSpPr>
          <a:xfrm>
            <a:off x="6390449" y="1328798"/>
            <a:ext cx="3310516" cy="2173486"/>
            <a:chOff x="8810525" y="2922528"/>
            <a:chExt cx="3376899" cy="2217069"/>
          </a:xfrm>
        </p:grpSpPr>
        <p:pic>
          <p:nvPicPr>
            <p:cNvPr id="3080" name="Picture 8" descr="Go to Symbo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9554" y="2922528"/>
              <a:ext cx="2462706" cy="170666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810525" y="4567133"/>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gutter</a:t>
              </a:r>
            </a:p>
          </p:txBody>
        </p:sp>
      </p:grpSp>
      <p:grpSp>
        <p:nvGrpSpPr>
          <p:cNvPr id="31" name="Group 30"/>
          <p:cNvGrpSpPr/>
          <p:nvPr/>
        </p:nvGrpSpPr>
        <p:grpSpPr>
          <a:xfrm>
            <a:off x="668265" y="4298314"/>
            <a:ext cx="3310516" cy="2298505"/>
            <a:chOff x="166690" y="4157261"/>
            <a:chExt cx="3376899" cy="2344595"/>
          </a:xfrm>
        </p:grpSpPr>
        <p:pic>
          <p:nvPicPr>
            <p:cNvPr id="9" name="Picture 8"/>
            <p:cNvPicPr>
              <a:picLocks noChangeAspect="1"/>
            </p:cNvPicPr>
            <p:nvPr/>
          </p:nvPicPr>
          <p:blipFill>
            <a:blip r:embed="rId9"/>
            <a:stretch>
              <a:fillRect/>
            </a:stretch>
          </p:blipFill>
          <p:spPr>
            <a:xfrm>
              <a:off x="304446" y="4157261"/>
              <a:ext cx="2517827" cy="1838906"/>
            </a:xfrm>
            <a:prstGeom prst="rect">
              <a:avLst/>
            </a:prstGeom>
          </p:spPr>
        </p:pic>
        <p:sp>
          <p:nvSpPr>
            <p:cNvPr id="18" name="TextBox 17"/>
            <p:cNvSpPr txBox="1"/>
            <p:nvPr/>
          </p:nvSpPr>
          <p:spPr>
            <a:xfrm>
              <a:off x="166690" y="5929392"/>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find all references</a:t>
              </a:r>
            </a:p>
          </p:txBody>
        </p:sp>
      </p:grpSp>
      <p:grpSp>
        <p:nvGrpSpPr>
          <p:cNvPr id="30" name="Group 29"/>
          <p:cNvGrpSpPr/>
          <p:nvPr/>
        </p:nvGrpSpPr>
        <p:grpSpPr>
          <a:xfrm>
            <a:off x="3912984" y="3739368"/>
            <a:ext cx="3310516" cy="1771345"/>
            <a:chOff x="3833106" y="5054685"/>
            <a:chExt cx="3376899" cy="1806864"/>
          </a:xfrm>
        </p:grpSpPr>
        <p:pic>
          <p:nvPicPr>
            <p:cNvPr id="11" name="Picture 10"/>
            <p:cNvPicPr>
              <a:picLocks noChangeAspect="1"/>
            </p:cNvPicPr>
            <p:nvPr/>
          </p:nvPicPr>
          <p:blipFill>
            <a:blip r:embed="rId10"/>
            <a:stretch>
              <a:fillRect/>
            </a:stretch>
          </p:blipFill>
          <p:spPr>
            <a:xfrm>
              <a:off x="3913981" y="5054685"/>
              <a:ext cx="2936787" cy="1234400"/>
            </a:xfrm>
            <a:prstGeom prst="rect">
              <a:avLst/>
            </a:prstGeom>
          </p:spPr>
        </p:pic>
        <p:sp>
          <p:nvSpPr>
            <p:cNvPr id="20" name="TextBox 19"/>
            <p:cNvSpPr txBox="1"/>
            <p:nvPr/>
          </p:nvSpPr>
          <p:spPr>
            <a:xfrm>
              <a:off x="3833106" y="6289085"/>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inline references</a:t>
              </a:r>
            </a:p>
          </p:txBody>
        </p:sp>
      </p:grpSp>
      <p:grpSp>
        <p:nvGrpSpPr>
          <p:cNvPr id="3072" name="Group 3071"/>
          <p:cNvGrpSpPr/>
          <p:nvPr/>
        </p:nvGrpSpPr>
        <p:grpSpPr>
          <a:xfrm>
            <a:off x="4559981" y="5461283"/>
            <a:ext cx="3310516" cy="1553698"/>
            <a:chOff x="8095361" y="5203235"/>
            <a:chExt cx="3376899" cy="1584853"/>
          </a:xfrm>
        </p:grpSpPr>
        <p:pic>
          <p:nvPicPr>
            <p:cNvPr id="13" name="Picture 12"/>
            <p:cNvPicPr>
              <a:picLocks noChangeAspect="1"/>
            </p:cNvPicPr>
            <p:nvPr/>
          </p:nvPicPr>
          <p:blipFill>
            <a:blip r:embed="rId11"/>
            <a:stretch>
              <a:fillRect/>
            </a:stretch>
          </p:blipFill>
          <p:spPr>
            <a:xfrm>
              <a:off x="8258315" y="5203235"/>
              <a:ext cx="2924175" cy="1085850"/>
            </a:xfrm>
            <a:prstGeom prst="rect">
              <a:avLst/>
            </a:prstGeom>
          </p:spPr>
        </p:pic>
        <p:sp>
          <p:nvSpPr>
            <p:cNvPr id="22" name="TextBox 21"/>
            <p:cNvSpPr txBox="1"/>
            <p:nvPr/>
          </p:nvSpPr>
          <p:spPr>
            <a:xfrm>
              <a:off x="8095361" y="6215624"/>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rename symbol</a:t>
              </a:r>
            </a:p>
          </p:txBody>
        </p:sp>
      </p:grpSp>
      <p:grpSp>
        <p:nvGrpSpPr>
          <p:cNvPr id="28" name="Group 27"/>
          <p:cNvGrpSpPr/>
          <p:nvPr/>
        </p:nvGrpSpPr>
        <p:grpSpPr>
          <a:xfrm>
            <a:off x="2674246" y="2721557"/>
            <a:ext cx="3310516" cy="963605"/>
            <a:chOff x="3221279" y="3713585"/>
            <a:chExt cx="3376899" cy="982927"/>
          </a:xfrm>
        </p:grpSpPr>
        <p:pic>
          <p:nvPicPr>
            <p:cNvPr id="14" name="Picture 13"/>
            <p:cNvPicPr>
              <a:picLocks noChangeAspect="1"/>
            </p:cNvPicPr>
            <p:nvPr/>
          </p:nvPicPr>
          <p:blipFill>
            <a:blip r:embed="rId12"/>
            <a:stretch>
              <a:fillRect/>
            </a:stretch>
          </p:blipFill>
          <p:spPr>
            <a:xfrm>
              <a:off x="3378692" y="3713585"/>
              <a:ext cx="3127578" cy="482142"/>
            </a:xfrm>
            <a:prstGeom prst="rect">
              <a:avLst/>
            </a:prstGeom>
          </p:spPr>
        </p:pic>
        <p:sp>
          <p:nvSpPr>
            <p:cNvPr id="24" name="TextBox 23"/>
            <p:cNvSpPr txBox="1"/>
            <p:nvPr/>
          </p:nvSpPr>
          <p:spPr>
            <a:xfrm>
              <a:off x="3221279" y="4124048"/>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code actions</a:t>
              </a:r>
            </a:p>
          </p:txBody>
        </p:sp>
      </p:grpSp>
      <p:grpSp>
        <p:nvGrpSpPr>
          <p:cNvPr id="25" name="Group 24"/>
          <p:cNvGrpSpPr/>
          <p:nvPr/>
        </p:nvGrpSpPr>
        <p:grpSpPr>
          <a:xfrm>
            <a:off x="8033724" y="3218268"/>
            <a:ext cx="3788039" cy="1455312"/>
            <a:chOff x="5668246" y="2135448"/>
            <a:chExt cx="3863997" cy="1484494"/>
          </a:xfrm>
        </p:grpSpPr>
        <p:pic>
          <p:nvPicPr>
            <p:cNvPr id="16" name="Picture 15"/>
            <p:cNvPicPr>
              <a:picLocks noChangeAspect="1"/>
            </p:cNvPicPr>
            <p:nvPr/>
          </p:nvPicPr>
          <p:blipFill>
            <a:blip r:embed="rId13"/>
            <a:stretch>
              <a:fillRect/>
            </a:stretch>
          </p:blipFill>
          <p:spPr>
            <a:xfrm>
              <a:off x="5855593" y="2135448"/>
              <a:ext cx="3676650" cy="1019175"/>
            </a:xfrm>
            <a:prstGeom prst="rect">
              <a:avLst/>
            </a:prstGeom>
          </p:spPr>
        </p:pic>
        <p:sp>
          <p:nvSpPr>
            <p:cNvPr id="26" name="TextBox 25"/>
            <p:cNvSpPr txBox="1"/>
            <p:nvPr/>
          </p:nvSpPr>
          <p:spPr>
            <a:xfrm>
              <a:off x="5668246" y="3047478"/>
              <a:ext cx="3376899" cy="572464"/>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1961" dirty="0">
                  <a:gradFill>
                    <a:gsLst>
                      <a:gs pos="2917">
                        <a:srgbClr val="404040"/>
                      </a:gs>
                      <a:gs pos="30000">
                        <a:srgbClr val="404040"/>
                      </a:gs>
                    </a:gsLst>
                    <a:lin ang="5400000" scaled="0"/>
                  </a:gradFill>
                </a:rPr>
                <a:t>error/warnings</a:t>
              </a:r>
            </a:p>
          </p:txBody>
        </p:sp>
      </p:grpSp>
      <p:grpSp>
        <p:nvGrpSpPr>
          <p:cNvPr id="3077" name="Group 3076"/>
          <p:cNvGrpSpPr/>
          <p:nvPr/>
        </p:nvGrpSpPr>
        <p:grpSpPr>
          <a:xfrm>
            <a:off x="8125146" y="4844915"/>
            <a:ext cx="3788858" cy="1682714"/>
            <a:chOff x="8176477" y="5098855"/>
            <a:chExt cx="3864833" cy="1716456"/>
          </a:xfrm>
        </p:grpSpPr>
        <p:pic>
          <p:nvPicPr>
            <p:cNvPr id="3073" name="Picture 3072"/>
            <p:cNvPicPr>
              <a:picLocks noChangeAspect="1"/>
            </p:cNvPicPr>
            <p:nvPr/>
          </p:nvPicPr>
          <p:blipFill>
            <a:blip r:embed="rId14"/>
            <a:stretch>
              <a:fillRect/>
            </a:stretch>
          </p:blipFill>
          <p:spPr>
            <a:xfrm>
              <a:off x="8206053" y="5098855"/>
              <a:ext cx="3835257" cy="1313088"/>
            </a:xfrm>
            <a:prstGeom prst="rect">
              <a:avLst/>
            </a:prstGeom>
          </p:spPr>
        </p:pic>
        <p:sp>
          <p:nvSpPr>
            <p:cNvPr id="3075" name="Rectangle 3074"/>
            <p:cNvSpPr/>
            <p:nvPr/>
          </p:nvSpPr>
          <p:spPr>
            <a:xfrm>
              <a:off x="8176477" y="6471799"/>
              <a:ext cx="1312303" cy="343512"/>
            </a:xfrm>
            <a:prstGeom prst="rect">
              <a:avLst/>
            </a:prstGeom>
          </p:spPr>
          <p:txBody>
            <a:bodyPr wrap="none">
              <a:spAutoFit/>
            </a:bodyPr>
            <a:lstStyle/>
            <a:p>
              <a:pPr defTabSz="914367" latinLnBrk="0">
                <a:lnSpc>
                  <a:spcPct val="90000"/>
                </a:lnSpc>
                <a:spcAft>
                  <a:spcPts val="588"/>
                </a:spcAft>
              </a:pPr>
              <a:r>
                <a:rPr lang="de-CH" sz="1765" dirty="0">
                  <a:gradFill>
                    <a:gsLst>
                      <a:gs pos="2917">
                        <a:srgbClr val="404040"/>
                      </a:gs>
                      <a:gs pos="30000">
                        <a:srgbClr val="404040"/>
                      </a:gs>
                    </a:gsLst>
                    <a:lin ang="5400000" scaled="0"/>
                  </a:gradFill>
                </a:rPr>
                <a:t>inline errors</a:t>
              </a:r>
            </a:p>
          </p:txBody>
        </p:sp>
      </p:grpSp>
    </p:spTree>
    <p:extLst>
      <p:ext uri="{BB962C8B-B14F-4D97-AF65-F5344CB8AC3E}">
        <p14:creationId xmlns:p14="http://schemas.microsoft.com/office/powerpoint/2010/main" val="13672131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154527" y="2370113"/>
            <a:ext cx="3867653" cy="1553034"/>
          </a:xfrm>
          <a:prstGeom prst="rect">
            <a:avLst/>
          </a:prstGeom>
        </p:spPr>
      </p:pic>
      <p:pic>
        <p:nvPicPr>
          <p:cNvPr id="9" name="Picture 8"/>
          <p:cNvPicPr>
            <a:picLocks noChangeAspect="1"/>
          </p:cNvPicPr>
          <p:nvPr/>
        </p:nvPicPr>
        <p:blipFill>
          <a:blip r:embed="rId4"/>
          <a:stretch>
            <a:fillRect/>
          </a:stretch>
        </p:blipFill>
        <p:spPr>
          <a:xfrm>
            <a:off x="7507850" y="2087743"/>
            <a:ext cx="2390799" cy="2390799"/>
          </a:xfrm>
          <a:prstGeom prst="rect">
            <a:avLst/>
          </a:prstGeom>
        </p:spPr>
      </p:pic>
      <p:sp>
        <p:nvSpPr>
          <p:cNvPr id="10" name="Rectangle 9"/>
          <p:cNvSpPr/>
          <p:nvPr/>
        </p:nvSpPr>
        <p:spPr>
          <a:xfrm>
            <a:off x="7507850" y="4699664"/>
            <a:ext cx="2244525" cy="1178528"/>
          </a:xfrm>
          <a:prstGeom prst="rect">
            <a:avLst/>
          </a:prstGeom>
        </p:spPr>
        <p:txBody>
          <a:bodyPr wrap="none">
            <a:spAutoFit/>
          </a:bodyPr>
          <a:lstStyle/>
          <a:p>
            <a:pPr defTabSz="914367" latinLnBrk="0"/>
            <a:r>
              <a:rPr lang="en-US" sz="3529" b="1" dirty="0">
                <a:solidFill>
                  <a:srgbClr val="404040"/>
                </a:solidFill>
              </a:rPr>
              <a:t>OmniSharp</a:t>
            </a:r>
            <a:br>
              <a:rPr lang="en-US" sz="3529" b="1" dirty="0">
                <a:solidFill>
                  <a:srgbClr val="404040"/>
                </a:solidFill>
              </a:rPr>
            </a:br>
            <a:r>
              <a:rPr lang="en-US" sz="3529" b="1" dirty="0">
                <a:solidFill>
                  <a:srgbClr val="404040"/>
                </a:solidFill>
              </a:rPr>
              <a:t>Roslyn</a:t>
            </a:r>
            <a:endParaRPr lang="de-CH" sz="3529" b="1" dirty="0">
              <a:solidFill>
                <a:srgbClr val="404040"/>
              </a:solidFill>
            </a:endParaRPr>
          </a:p>
        </p:txBody>
      </p:sp>
      <p:sp>
        <p:nvSpPr>
          <p:cNvPr id="5" name="Rectangle 4"/>
          <p:cNvSpPr/>
          <p:nvPr/>
        </p:nvSpPr>
        <p:spPr>
          <a:xfrm>
            <a:off x="1366305" y="4699663"/>
            <a:ext cx="2100511" cy="1178528"/>
          </a:xfrm>
          <a:prstGeom prst="rect">
            <a:avLst/>
          </a:prstGeom>
        </p:spPr>
        <p:txBody>
          <a:bodyPr wrap="none">
            <a:spAutoFit/>
          </a:bodyPr>
          <a:lstStyle/>
          <a:p>
            <a:pPr defTabSz="914367" latinLnBrk="0"/>
            <a:r>
              <a:rPr lang="en-US" sz="3529" b="1" dirty="0">
                <a:solidFill>
                  <a:srgbClr val="404040"/>
                </a:solidFill>
              </a:rPr>
              <a:t>TypeScript</a:t>
            </a:r>
            <a:br>
              <a:rPr lang="en-US" sz="3529" b="1" dirty="0">
                <a:solidFill>
                  <a:srgbClr val="404040"/>
                </a:solidFill>
              </a:rPr>
            </a:br>
            <a:r>
              <a:rPr lang="en-US" sz="3529" b="1" dirty="0">
                <a:solidFill>
                  <a:srgbClr val="404040"/>
                </a:solidFill>
              </a:rPr>
              <a:t>Server</a:t>
            </a:r>
            <a:endParaRPr lang="de-CH" sz="3529" b="1" dirty="0">
              <a:solidFill>
                <a:srgbClr val="404040"/>
              </a:solidFill>
            </a:endParaRPr>
          </a:p>
        </p:txBody>
      </p:sp>
    </p:spTree>
    <p:extLst>
      <p:ext uri="{BB962C8B-B14F-4D97-AF65-F5344CB8AC3E}">
        <p14:creationId xmlns:p14="http://schemas.microsoft.com/office/powerpoint/2010/main" val="144485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14694" y="1315990"/>
            <a:ext cx="3587087" cy="465107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de-CH"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489179" y="3276509"/>
            <a:ext cx="2036313" cy="832691"/>
          </a:xfrm>
          <a:prstGeom prst="rect">
            <a:avLst/>
          </a:prstGeom>
          <a:noFill/>
        </p:spPr>
        <p:txBody>
          <a:bodyPr wrap="none" lIns="179285" tIns="143428" rIns="179285" bIns="143428" rtlCol="0">
            <a:spAutoFit/>
          </a:bodyPr>
          <a:lstStyle/>
          <a:p>
            <a:pPr defTabSz="914367" latinLnBrk="0">
              <a:lnSpc>
                <a:spcPct val="90000"/>
              </a:lnSpc>
              <a:spcAft>
                <a:spcPts val="588"/>
              </a:spcAft>
            </a:pPr>
            <a:r>
              <a:rPr lang="de-CH" sz="3921" dirty="0">
                <a:solidFill>
                  <a:srgbClr val="FFFFFF"/>
                </a:solidFill>
              </a:rPr>
              <a:t>VS Code</a:t>
            </a:r>
          </a:p>
        </p:txBody>
      </p:sp>
      <p:sp>
        <p:nvSpPr>
          <p:cNvPr id="11" name="TextBox 10"/>
          <p:cNvSpPr txBox="1"/>
          <p:nvPr/>
        </p:nvSpPr>
        <p:spPr>
          <a:xfrm>
            <a:off x="5531032" y="1477575"/>
            <a:ext cx="3411517" cy="615522"/>
          </a:xfrm>
          <a:prstGeom prst="rect">
            <a:avLst/>
          </a:prstGeom>
          <a:solidFill>
            <a:schemeClr val="accent1">
              <a:lumMod val="40000"/>
              <a:lumOff val="60000"/>
            </a:schemeClr>
          </a:solidFill>
          <a:ln>
            <a:noFill/>
          </a:ln>
        </p:spPr>
        <p:txBody>
          <a:bodyPr wrap="square" lIns="179285" tIns="143428" rIns="179285" bIns="143428" rtlCol="0">
            <a:spAutoFit/>
          </a:bodyPr>
          <a:lstStyle/>
          <a:p>
            <a:pPr algn="ctr" defTabSz="914367" latinLnBrk="0">
              <a:lnSpc>
                <a:spcPct val="90000"/>
              </a:lnSpc>
              <a:spcAft>
                <a:spcPts val="588"/>
              </a:spcAft>
            </a:pPr>
            <a:r>
              <a:rPr lang="de-CH" sz="2353" dirty="0">
                <a:solidFill>
                  <a:srgbClr val="FFFFFF"/>
                </a:solidFill>
              </a:rPr>
              <a:t>OmniSharp Server</a:t>
            </a:r>
          </a:p>
        </p:txBody>
      </p:sp>
      <p:sp>
        <p:nvSpPr>
          <p:cNvPr id="12" name="TextBox 11"/>
          <p:cNvSpPr txBox="1"/>
          <p:nvPr/>
        </p:nvSpPr>
        <p:spPr>
          <a:xfrm>
            <a:off x="5554111" y="2588723"/>
            <a:ext cx="3388439" cy="615522"/>
          </a:xfrm>
          <a:prstGeom prst="rect">
            <a:avLst/>
          </a:prstGeom>
          <a:solidFill>
            <a:schemeClr val="accent1">
              <a:lumMod val="40000"/>
              <a:lumOff val="60000"/>
            </a:schemeClr>
          </a:solidFill>
          <a:ln>
            <a:noFill/>
          </a:ln>
        </p:spPr>
        <p:txBody>
          <a:bodyPr wrap="square" lIns="179285" tIns="143428" rIns="179285" bIns="143428" rtlCol="0">
            <a:spAutoFit/>
          </a:bodyPr>
          <a:lstStyle/>
          <a:p>
            <a:pPr algn="ctr" defTabSz="914367" latinLnBrk="0">
              <a:lnSpc>
                <a:spcPct val="90000"/>
              </a:lnSpc>
              <a:spcAft>
                <a:spcPts val="588"/>
              </a:spcAft>
            </a:pPr>
            <a:r>
              <a:rPr lang="de-CH" sz="2353" dirty="0">
                <a:solidFill>
                  <a:srgbClr val="FFFFFF"/>
                </a:solidFill>
              </a:rPr>
              <a:t>TypeScript Server</a:t>
            </a:r>
          </a:p>
        </p:txBody>
      </p:sp>
      <p:sp>
        <p:nvSpPr>
          <p:cNvPr id="27" name="TextBox 26"/>
          <p:cNvSpPr txBox="1"/>
          <p:nvPr/>
        </p:nvSpPr>
        <p:spPr>
          <a:xfrm>
            <a:off x="5598832" y="3768403"/>
            <a:ext cx="3343717" cy="615522"/>
          </a:xfrm>
          <a:prstGeom prst="rect">
            <a:avLst/>
          </a:prstGeom>
          <a:solidFill>
            <a:schemeClr val="accent4">
              <a:lumMod val="75000"/>
            </a:schemeClr>
          </a:solidFill>
          <a:ln>
            <a:solidFill>
              <a:schemeClr val="tx2"/>
            </a:solidFill>
          </a:ln>
        </p:spPr>
        <p:txBody>
          <a:bodyPr wrap="square" lIns="179285" tIns="143428" rIns="179285" bIns="143428" rtlCol="0">
            <a:spAutoFit/>
          </a:bodyPr>
          <a:lstStyle/>
          <a:p>
            <a:pPr algn="ctr" defTabSz="914367" latinLnBrk="0">
              <a:lnSpc>
                <a:spcPct val="90000"/>
              </a:lnSpc>
              <a:spcAft>
                <a:spcPts val="588"/>
              </a:spcAft>
            </a:pPr>
            <a:r>
              <a:rPr lang="de-CH" sz="2353" dirty="0">
                <a:solidFill>
                  <a:srgbClr val="FFFFFF"/>
                </a:solidFill>
              </a:rPr>
              <a:t>Node Dbg Adapter</a:t>
            </a:r>
          </a:p>
        </p:txBody>
      </p:sp>
      <p:sp>
        <p:nvSpPr>
          <p:cNvPr id="28" name="TextBox 27"/>
          <p:cNvSpPr txBox="1"/>
          <p:nvPr/>
        </p:nvSpPr>
        <p:spPr>
          <a:xfrm>
            <a:off x="5564946" y="4830898"/>
            <a:ext cx="3377603" cy="615522"/>
          </a:xfrm>
          <a:prstGeom prst="rect">
            <a:avLst/>
          </a:prstGeom>
          <a:solidFill>
            <a:schemeClr val="accent4">
              <a:lumMod val="75000"/>
            </a:schemeClr>
          </a:solidFill>
          <a:ln>
            <a:solidFill>
              <a:schemeClr val="tx2"/>
            </a:solidFill>
          </a:ln>
        </p:spPr>
        <p:txBody>
          <a:bodyPr wrap="square" lIns="179285" tIns="143428" rIns="179285" bIns="143428" rtlCol="0">
            <a:spAutoFit/>
          </a:bodyPr>
          <a:lstStyle/>
          <a:p>
            <a:pPr algn="ctr" defTabSz="914367" latinLnBrk="0">
              <a:lnSpc>
                <a:spcPct val="90000"/>
              </a:lnSpc>
              <a:spcAft>
                <a:spcPts val="588"/>
              </a:spcAft>
            </a:pPr>
            <a:r>
              <a:rPr lang="de-CH" sz="2353" dirty="0">
                <a:solidFill>
                  <a:srgbClr val="FFFFFF"/>
                </a:solidFill>
              </a:rPr>
              <a:t>Mono Dbg Adapter</a:t>
            </a:r>
          </a:p>
        </p:txBody>
      </p:sp>
      <p:sp>
        <p:nvSpPr>
          <p:cNvPr id="2" name="Title 1"/>
          <p:cNvSpPr>
            <a:spLocks noGrp="1"/>
          </p:cNvSpPr>
          <p:nvPr>
            <p:ph type="title"/>
          </p:nvPr>
        </p:nvSpPr>
        <p:spPr>
          <a:xfrm>
            <a:off x="269240" y="289957"/>
            <a:ext cx="6603277" cy="899537"/>
          </a:xfrm>
        </p:spPr>
        <p:txBody>
          <a:bodyPr/>
          <a:lstStyle/>
          <a:p>
            <a:r>
              <a:rPr lang="de-CH"/>
              <a:t>Tools Service Architecture</a:t>
            </a:r>
            <a:endParaRPr lang="de-CH" dirty="0"/>
          </a:p>
        </p:txBody>
      </p:sp>
      <p:cxnSp>
        <p:nvCxnSpPr>
          <p:cNvPr id="22" name="Straight Connector 21"/>
          <p:cNvCxnSpPr/>
          <p:nvPr/>
        </p:nvCxnSpPr>
        <p:spPr>
          <a:xfrm>
            <a:off x="4966520" y="1025327"/>
            <a:ext cx="0" cy="5832187"/>
          </a:xfrm>
          <a:prstGeom prst="line">
            <a:avLst/>
          </a:prstGeom>
          <a:ln w="28575">
            <a:solidFill>
              <a:schemeClr val="bg2">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Left-Right Arrow 23"/>
          <p:cNvSpPr/>
          <p:nvPr/>
        </p:nvSpPr>
        <p:spPr bwMode="auto">
          <a:xfrm>
            <a:off x="4376797" y="1643223"/>
            <a:ext cx="1175180" cy="36785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latinLnBrk="0"/>
            <a:endParaRPr lang="de-CH" sz="784" dirty="0">
              <a:gradFill>
                <a:gsLst>
                  <a:gs pos="0">
                    <a:srgbClr val="FFFFFF"/>
                  </a:gs>
                  <a:gs pos="100000">
                    <a:srgbClr val="FFFFFF"/>
                  </a:gs>
                </a:gsLst>
                <a:lin ang="5400000" scaled="0"/>
              </a:gradFill>
              <a:ea typeface="Segoe UI" pitchFamily="34" charset="0"/>
              <a:cs typeface="Segoe UI" pitchFamily="34" charset="0"/>
            </a:endParaRPr>
          </a:p>
        </p:txBody>
      </p:sp>
      <p:sp>
        <p:nvSpPr>
          <p:cNvPr id="31" name="Left-Right Arrow 30"/>
          <p:cNvSpPr/>
          <p:nvPr/>
        </p:nvSpPr>
        <p:spPr bwMode="auto">
          <a:xfrm>
            <a:off x="4391155" y="2712546"/>
            <a:ext cx="1175180" cy="36785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latinLnBrk="0"/>
            <a:endParaRPr lang="de-CH" sz="784"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a:xfrm>
            <a:off x="4395948" y="6060081"/>
            <a:ext cx="1023037" cy="575094"/>
          </a:xfrm>
          <a:prstGeom prst="rect">
            <a:avLst/>
          </a:prstGeom>
          <a:solidFill>
            <a:schemeClr val="bg1"/>
          </a:solidFill>
        </p:spPr>
        <p:txBody>
          <a:bodyPr wrap="none">
            <a:spAutoFit/>
          </a:bodyPr>
          <a:lstStyle/>
          <a:p>
            <a:pPr defTabSz="914367" latinLnBrk="0"/>
            <a:r>
              <a:rPr lang="de-CH" sz="3137" dirty="0">
                <a:solidFill>
                  <a:srgbClr val="404040"/>
                </a:solidFill>
              </a:rPr>
              <a:t>JSON</a:t>
            </a:r>
          </a:p>
        </p:txBody>
      </p:sp>
      <p:sp>
        <p:nvSpPr>
          <p:cNvPr id="33" name="TextBox 32"/>
          <p:cNvSpPr txBox="1"/>
          <p:nvPr/>
        </p:nvSpPr>
        <p:spPr>
          <a:xfrm>
            <a:off x="9099060" y="1519389"/>
            <a:ext cx="2035735" cy="615516"/>
          </a:xfrm>
          <a:prstGeom prst="rect">
            <a:avLst/>
          </a:prstGeom>
          <a:noFill/>
        </p:spPr>
        <p:txBody>
          <a:bodyPr wrap="none" lIns="179285" tIns="143428" rIns="179285" bIns="143428" rtlCol="0">
            <a:spAutoFit/>
          </a:bodyPr>
          <a:lstStyle/>
          <a:p>
            <a:pPr defTabSz="914367" latinLnBrk="0">
              <a:lnSpc>
                <a:spcPct val="90000"/>
              </a:lnSpc>
              <a:spcAft>
                <a:spcPts val="588"/>
              </a:spcAft>
            </a:pPr>
            <a:r>
              <a:rPr lang="de-CH" sz="2353" dirty="0">
                <a:gradFill>
                  <a:gsLst>
                    <a:gs pos="2917">
                      <a:srgbClr val="404040"/>
                    </a:gs>
                    <a:gs pos="30000">
                      <a:srgbClr val="404040"/>
                    </a:gs>
                  </a:gsLst>
                  <a:lin ang="5400000" scaled="0"/>
                </a:gradFill>
              </a:rPr>
              <a:t>C#, ASP.NET 5</a:t>
            </a:r>
          </a:p>
        </p:txBody>
      </p:sp>
      <p:sp>
        <p:nvSpPr>
          <p:cNvPr id="34" name="TextBox 33"/>
          <p:cNvSpPr txBox="1"/>
          <p:nvPr/>
        </p:nvSpPr>
        <p:spPr>
          <a:xfrm>
            <a:off x="9099060" y="2544674"/>
            <a:ext cx="1721803" cy="615516"/>
          </a:xfrm>
          <a:prstGeom prst="rect">
            <a:avLst/>
          </a:prstGeom>
          <a:noFill/>
        </p:spPr>
        <p:txBody>
          <a:bodyPr wrap="none" lIns="179285" tIns="143428" rIns="179285" bIns="143428" rtlCol="0">
            <a:spAutoFit/>
          </a:bodyPr>
          <a:lstStyle/>
          <a:p>
            <a:pPr defTabSz="914367" latinLnBrk="0">
              <a:lnSpc>
                <a:spcPct val="90000"/>
              </a:lnSpc>
              <a:spcAft>
                <a:spcPts val="588"/>
              </a:spcAft>
            </a:pPr>
            <a:r>
              <a:rPr lang="de-CH" sz="2353" dirty="0">
                <a:gradFill>
                  <a:gsLst>
                    <a:gs pos="2917">
                      <a:srgbClr val="404040"/>
                    </a:gs>
                    <a:gs pos="30000">
                      <a:srgbClr val="404040"/>
                    </a:gs>
                  </a:gsLst>
                  <a:lin ang="5400000" scaled="0"/>
                </a:gradFill>
              </a:rPr>
              <a:t>TS, Node.js</a:t>
            </a:r>
          </a:p>
        </p:txBody>
      </p:sp>
      <p:sp>
        <p:nvSpPr>
          <p:cNvPr id="35" name="Left-Right Arrow 34"/>
          <p:cNvSpPr/>
          <p:nvPr/>
        </p:nvSpPr>
        <p:spPr bwMode="auto">
          <a:xfrm>
            <a:off x="4391156" y="3900162"/>
            <a:ext cx="1207766" cy="36785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latinLnBrk="0"/>
            <a:endParaRPr lang="de-CH" sz="784" dirty="0">
              <a:gradFill>
                <a:gsLst>
                  <a:gs pos="0">
                    <a:srgbClr val="FFFFFF"/>
                  </a:gs>
                  <a:gs pos="100000">
                    <a:srgbClr val="FFFFFF"/>
                  </a:gs>
                </a:gsLst>
                <a:lin ang="5400000" scaled="0"/>
              </a:gradFill>
              <a:ea typeface="Segoe UI" pitchFamily="34" charset="0"/>
              <a:cs typeface="Segoe UI" pitchFamily="34" charset="0"/>
            </a:endParaRPr>
          </a:p>
        </p:txBody>
      </p:sp>
      <p:sp>
        <p:nvSpPr>
          <p:cNvPr id="36" name="Left-Right Arrow 35"/>
          <p:cNvSpPr/>
          <p:nvPr/>
        </p:nvSpPr>
        <p:spPr bwMode="auto">
          <a:xfrm>
            <a:off x="4390209" y="4946809"/>
            <a:ext cx="1207766" cy="36785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latinLnBrk="0"/>
            <a:endParaRPr lang="de-CH" sz="784"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9099059" y="4822974"/>
            <a:ext cx="1533867" cy="615516"/>
          </a:xfrm>
          <a:prstGeom prst="rect">
            <a:avLst/>
          </a:prstGeom>
          <a:noFill/>
        </p:spPr>
        <p:txBody>
          <a:bodyPr wrap="none" lIns="179285" tIns="143428" rIns="179285" bIns="143428" rtlCol="0">
            <a:spAutoFit/>
          </a:bodyPr>
          <a:lstStyle/>
          <a:p>
            <a:pPr defTabSz="914367" latinLnBrk="0">
              <a:lnSpc>
                <a:spcPct val="90000"/>
              </a:lnSpc>
              <a:spcAft>
                <a:spcPts val="588"/>
              </a:spcAft>
            </a:pPr>
            <a:r>
              <a:rPr lang="de-CH" sz="2353" dirty="0">
                <a:gradFill>
                  <a:gsLst>
                    <a:gs pos="2917">
                      <a:srgbClr val="404040"/>
                    </a:gs>
                    <a:gs pos="30000">
                      <a:srgbClr val="404040"/>
                    </a:gs>
                  </a:gsLst>
                  <a:lin ang="5400000" scaled="0"/>
                </a:gradFill>
              </a:rPr>
              <a:t>C#, mono</a:t>
            </a:r>
          </a:p>
        </p:txBody>
      </p:sp>
      <p:sp>
        <p:nvSpPr>
          <p:cNvPr id="38" name="TextBox 37"/>
          <p:cNvSpPr txBox="1"/>
          <p:nvPr/>
        </p:nvSpPr>
        <p:spPr>
          <a:xfrm>
            <a:off x="9099059" y="3739528"/>
            <a:ext cx="1671726" cy="615516"/>
          </a:xfrm>
          <a:prstGeom prst="rect">
            <a:avLst/>
          </a:prstGeom>
          <a:noFill/>
        </p:spPr>
        <p:txBody>
          <a:bodyPr wrap="none" lIns="179285" tIns="143428" rIns="179285" bIns="143428" rtlCol="0">
            <a:spAutoFit/>
          </a:bodyPr>
          <a:lstStyle/>
          <a:p>
            <a:pPr defTabSz="914367" latinLnBrk="0">
              <a:lnSpc>
                <a:spcPct val="90000"/>
              </a:lnSpc>
              <a:spcAft>
                <a:spcPts val="588"/>
              </a:spcAft>
            </a:pPr>
            <a:r>
              <a:rPr lang="de-CH" sz="2353" dirty="0">
                <a:gradFill>
                  <a:gsLst>
                    <a:gs pos="2917">
                      <a:srgbClr val="404040"/>
                    </a:gs>
                    <a:gs pos="30000">
                      <a:srgbClr val="404040"/>
                    </a:gs>
                  </a:gsLst>
                  <a:lin ang="5400000" scaled="0"/>
                </a:gradFill>
              </a:rPr>
              <a:t>JS, Node.js</a:t>
            </a:r>
          </a:p>
        </p:txBody>
      </p:sp>
    </p:spTree>
    <p:extLst>
      <p:ext uri="{BB962C8B-B14F-4D97-AF65-F5344CB8AC3E}">
        <p14:creationId xmlns:p14="http://schemas.microsoft.com/office/powerpoint/2010/main" val="40001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tocols</a:t>
            </a:r>
          </a:p>
        </p:txBody>
      </p:sp>
      <p:graphicFrame>
        <p:nvGraphicFramePr>
          <p:cNvPr id="2" name="Table 1"/>
          <p:cNvGraphicFramePr>
            <a:graphicFrameLocks noGrp="1"/>
          </p:cNvGraphicFramePr>
          <p:nvPr>
            <p:extLst/>
          </p:nvPr>
        </p:nvGraphicFramePr>
        <p:xfrm>
          <a:off x="378010" y="1311226"/>
          <a:ext cx="7482802" cy="3443801"/>
        </p:xfrm>
        <a:graphic>
          <a:graphicData uri="http://schemas.openxmlformats.org/drawingml/2006/table">
            <a:tbl>
              <a:tblPr firstRow="1" firstCol="1" bandRow="1">
                <a:tableStyleId>{5C22544A-7EE6-4342-B048-85BDC9FD1C3A}</a:tableStyleId>
              </a:tblPr>
              <a:tblGrid>
                <a:gridCol w="1357309">
                  <a:extLst>
                    <a:ext uri="{9D8B030D-6E8A-4147-A177-3AD203B41FA5}">
                      <a16:colId xmlns:a16="http://schemas.microsoft.com/office/drawing/2014/main" val="20000"/>
                    </a:ext>
                  </a:extLst>
                </a:gridCol>
                <a:gridCol w="6125493">
                  <a:extLst>
                    <a:ext uri="{9D8B030D-6E8A-4147-A177-3AD203B41FA5}">
                      <a16:colId xmlns:a16="http://schemas.microsoft.com/office/drawing/2014/main" val="20001"/>
                    </a:ext>
                  </a:extLst>
                </a:gridCol>
              </a:tblGrid>
              <a:tr h="298032">
                <a:tc>
                  <a:txBody>
                    <a:bodyPr/>
                    <a:lstStyle/>
                    <a:p>
                      <a:pPr>
                        <a:lnSpc>
                          <a:spcPct val="107000"/>
                        </a:lnSpc>
                        <a:spcAft>
                          <a:spcPts val="0"/>
                        </a:spcAft>
                      </a:pPr>
                      <a:r>
                        <a:rPr lang="en-US" sz="1400" i="1" dirty="0">
                          <a:effectLst/>
                        </a:rPr>
                        <a:t>Request</a:t>
                      </a:r>
                      <a:endParaRPr lang="de-CH" sz="1400" i="1"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i="1" dirty="0">
                          <a:effectLst/>
                        </a:rPr>
                        <a:t>Response</a:t>
                      </a:r>
                      <a:endParaRPr lang="de-CH" sz="1400" i="1"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0"/>
                  </a:ext>
                </a:extLst>
              </a:tr>
              <a:tr h="298032">
                <a:tc>
                  <a:txBody>
                    <a:bodyPr/>
                    <a:lstStyle/>
                    <a:p>
                      <a:pPr>
                        <a:lnSpc>
                          <a:spcPct val="107000"/>
                        </a:lnSpc>
                        <a:spcAft>
                          <a:spcPts val="0"/>
                        </a:spcAft>
                      </a:pPr>
                      <a:r>
                        <a:rPr lang="en-US" sz="1400" dirty="0">
                          <a:effectLst/>
                        </a:rPr>
                        <a:t>definition</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rPr>
                        <a:t>Returns the file location of the symbol at the given file location</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1"/>
                  </a:ext>
                </a:extLst>
              </a:tr>
              <a:tr h="298032">
                <a:tc>
                  <a:txBody>
                    <a:bodyPr/>
                    <a:lstStyle/>
                    <a:p>
                      <a:pPr>
                        <a:lnSpc>
                          <a:spcPct val="107000"/>
                        </a:lnSpc>
                        <a:spcAft>
                          <a:spcPts val="0"/>
                        </a:spcAft>
                      </a:pPr>
                      <a:r>
                        <a:rPr lang="en-US" sz="1400">
                          <a:effectLst/>
                        </a:rPr>
                        <a:t>reference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s the file locations that reference the symbol at the given file location</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2"/>
                  </a:ext>
                </a:extLst>
              </a:tr>
              <a:tr h="298032">
                <a:tc>
                  <a:txBody>
                    <a:bodyPr/>
                    <a:lstStyle/>
                    <a:p>
                      <a:pPr>
                        <a:lnSpc>
                          <a:spcPct val="107000"/>
                        </a:lnSpc>
                        <a:spcAft>
                          <a:spcPts val="0"/>
                        </a:spcAft>
                      </a:pPr>
                      <a:r>
                        <a:rPr lang="en-US" sz="1400">
                          <a:effectLst/>
                        </a:rPr>
                        <a:t>completion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s possible completions at a given file location</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3"/>
                  </a:ext>
                </a:extLst>
              </a:tr>
              <a:tr h="611955">
                <a:tc>
                  <a:txBody>
                    <a:bodyPr/>
                    <a:lstStyle/>
                    <a:p>
                      <a:pPr>
                        <a:lnSpc>
                          <a:spcPct val="107000"/>
                        </a:lnSpc>
                        <a:spcAft>
                          <a:spcPts val="0"/>
                        </a:spcAft>
                      </a:pPr>
                      <a:r>
                        <a:rPr lang="en-US" sz="1400">
                          <a:effectLst/>
                        </a:rPr>
                        <a:t>symbolDetail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 a type information and documentation for the symbol at a given file location</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4"/>
                  </a:ext>
                </a:extLst>
              </a:tr>
              <a:tr h="298032">
                <a:tc>
                  <a:txBody>
                    <a:bodyPr/>
                    <a:lstStyle/>
                    <a:p>
                      <a:pPr>
                        <a:lnSpc>
                          <a:spcPct val="107000"/>
                        </a:lnSpc>
                        <a:spcAft>
                          <a:spcPts val="0"/>
                        </a:spcAft>
                      </a:pPr>
                      <a:r>
                        <a:rPr lang="en-US" sz="1400">
                          <a:effectLst/>
                        </a:rPr>
                        <a:t>format</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s edit instructions to format a fil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5"/>
                  </a:ext>
                </a:extLst>
              </a:tr>
              <a:tr h="447590">
                <a:tc>
                  <a:txBody>
                    <a:bodyPr/>
                    <a:lstStyle/>
                    <a:p>
                      <a:pPr>
                        <a:lnSpc>
                          <a:spcPct val="107000"/>
                        </a:lnSpc>
                        <a:spcAft>
                          <a:spcPts val="0"/>
                        </a:spcAft>
                      </a:pPr>
                      <a:r>
                        <a:rPr lang="en-US" sz="1400" dirty="0">
                          <a:effectLst/>
                        </a:rPr>
                        <a:t>outline</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rPr>
                        <a:t>Returns list of navigation targets for a particular file</a:t>
                      </a:r>
                    </a:p>
                    <a:p>
                      <a:pPr>
                        <a:lnSpc>
                          <a:spcPct val="107000"/>
                        </a:lnSpc>
                        <a:spcAft>
                          <a:spcPts val="0"/>
                        </a:spcAft>
                      </a:pP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6"/>
                  </a:ext>
                </a:extLst>
              </a:tr>
              <a:tr h="298032">
                <a:tc>
                  <a:txBody>
                    <a:bodyPr/>
                    <a:lstStyle/>
                    <a:p>
                      <a:pPr>
                        <a:lnSpc>
                          <a:spcPct val="107000"/>
                        </a:lnSpc>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open</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Notifies the server that the editor host has opened a fil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7"/>
                  </a:ext>
                </a:extLst>
              </a:tr>
              <a:tr h="298032">
                <a:tc>
                  <a:txBody>
                    <a:bodyPr/>
                    <a:lstStyle/>
                    <a:p>
                      <a:pPr>
                        <a:lnSpc>
                          <a:spcPct val="107000"/>
                        </a:lnSpc>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clos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Notifies the server that a previously opened file is now closed</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8"/>
                  </a:ext>
                </a:extLst>
              </a:tr>
              <a:tr h="298032">
                <a:tc>
                  <a:txBody>
                    <a:bodyPr/>
                    <a:lstStyle/>
                    <a:p>
                      <a:pPr>
                        <a:lnSpc>
                          <a:spcPct val="107000"/>
                        </a:lnSpc>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chang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Notifies the server that a range of a file has changed</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9"/>
                  </a:ext>
                </a:extLst>
              </a:tr>
            </a:tbl>
          </a:graphicData>
        </a:graphic>
      </p:graphicFrame>
      <p:sp>
        <p:nvSpPr>
          <p:cNvPr id="4" name="Rectangle 1"/>
          <p:cNvSpPr>
            <a:spLocks noChangeArrowheads="1"/>
          </p:cNvSpPr>
          <p:nvPr/>
        </p:nvSpPr>
        <p:spPr bwMode="auto">
          <a:xfrm>
            <a:off x="1719266" y="1671389"/>
            <a:ext cx="15673869" cy="3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spAutoFit/>
          </a:bodyPr>
          <a:lstStyle/>
          <a:p>
            <a:pPr defTabSz="914367" latinLnBrk="0"/>
            <a:endParaRPr lang="de-CH" sz="1765">
              <a:solidFill>
                <a:srgbClr val="404040"/>
              </a:solidFill>
            </a:endParaRPr>
          </a:p>
        </p:txBody>
      </p:sp>
      <p:graphicFrame>
        <p:nvGraphicFramePr>
          <p:cNvPr id="5" name="Table 4"/>
          <p:cNvGraphicFramePr>
            <a:graphicFrameLocks noGrp="1"/>
          </p:cNvGraphicFramePr>
          <p:nvPr>
            <p:extLst/>
          </p:nvPr>
        </p:nvGraphicFramePr>
        <p:xfrm>
          <a:off x="3766448" y="3428998"/>
          <a:ext cx="7835764" cy="3176667"/>
        </p:xfrm>
        <a:graphic>
          <a:graphicData uri="http://schemas.openxmlformats.org/drawingml/2006/table">
            <a:tbl>
              <a:tblPr firstRow="1" firstCol="1" bandRow="1">
                <a:tableStyleId>{5C22544A-7EE6-4342-B048-85BDC9FD1C3A}</a:tableStyleId>
              </a:tblPr>
              <a:tblGrid>
                <a:gridCol w="1421332">
                  <a:extLst>
                    <a:ext uri="{9D8B030D-6E8A-4147-A177-3AD203B41FA5}">
                      <a16:colId xmlns:a16="http://schemas.microsoft.com/office/drawing/2014/main" val="20000"/>
                    </a:ext>
                  </a:extLst>
                </a:gridCol>
                <a:gridCol w="6414432">
                  <a:extLst>
                    <a:ext uri="{9D8B030D-6E8A-4147-A177-3AD203B41FA5}">
                      <a16:colId xmlns:a16="http://schemas.microsoft.com/office/drawing/2014/main" val="20001"/>
                    </a:ext>
                  </a:extLst>
                </a:gridCol>
              </a:tblGrid>
              <a:tr h="261240">
                <a:tc>
                  <a:txBody>
                    <a:bodyPr/>
                    <a:lstStyle/>
                    <a:p>
                      <a:pPr>
                        <a:lnSpc>
                          <a:spcPct val="107000"/>
                        </a:lnSpc>
                        <a:spcAft>
                          <a:spcPts val="0"/>
                        </a:spcAft>
                      </a:pPr>
                      <a:r>
                        <a:rPr lang="en-US" sz="1400" i="1" dirty="0">
                          <a:effectLst/>
                        </a:rPr>
                        <a:t>Request</a:t>
                      </a:r>
                      <a:endParaRPr lang="de-CH" sz="1400" i="1"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rPr>
                        <a:t> </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0"/>
                  </a:ext>
                </a:extLst>
              </a:tr>
              <a:tr h="261240">
                <a:tc>
                  <a:txBody>
                    <a:bodyPr/>
                    <a:lstStyle/>
                    <a:p>
                      <a:pPr>
                        <a:lnSpc>
                          <a:spcPct val="107000"/>
                        </a:lnSpc>
                        <a:spcAft>
                          <a:spcPts val="0"/>
                        </a:spcAft>
                      </a:pPr>
                      <a:r>
                        <a:rPr lang="en-US" sz="1400">
                          <a:effectLst/>
                        </a:rPr>
                        <a:t>launch</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rPr>
                        <a:t>Launch a debugee</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1"/>
                  </a:ext>
                </a:extLst>
              </a:tr>
              <a:tr h="536409">
                <a:tc>
                  <a:txBody>
                    <a:bodyPr/>
                    <a:lstStyle/>
                    <a:p>
                      <a:pPr>
                        <a:lnSpc>
                          <a:spcPct val="107000"/>
                        </a:lnSpc>
                        <a:spcAft>
                          <a:spcPts val="0"/>
                        </a:spcAft>
                      </a:pPr>
                      <a:r>
                        <a:rPr lang="en-US" sz="1400">
                          <a:effectLst/>
                        </a:rPr>
                        <a:t>setBreakpoint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Sets multiple break point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2"/>
                  </a:ext>
                </a:extLst>
              </a:tr>
              <a:tr h="811578">
                <a:tc>
                  <a:txBody>
                    <a:bodyPr/>
                    <a:lstStyle/>
                    <a:p>
                      <a:pPr>
                        <a:lnSpc>
                          <a:spcPct val="107000"/>
                        </a:lnSpc>
                        <a:spcAft>
                          <a:spcPts val="0"/>
                        </a:spcAft>
                      </a:pPr>
                      <a:r>
                        <a:rPr lang="en-US" sz="1400">
                          <a:effectLst/>
                        </a:rPr>
                        <a:t>continue, next, stepIn, stepOut</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Execution control</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3"/>
                  </a:ext>
                </a:extLst>
              </a:tr>
              <a:tr h="261240">
                <a:tc>
                  <a:txBody>
                    <a:bodyPr/>
                    <a:lstStyle/>
                    <a:p>
                      <a:pPr>
                        <a:lnSpc>
                          <a:spcPct val="107000"/>
                        </a:lnSpc>
                        <a:spcAft>
                          <a:spcPts val="0"/>
                        </a:spcAft>
                      </a:pPr>
                      <a:r>
                        <a:rPr lang="en-US" sz="1400">
                          <a:effectLst/>
                        </a:rPr>
                        <a:t>stackTrac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s the stack trace from the current execution stat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4"/>
                  </a:ext>
                </a:extLst>
              </a:tr>
              <a:tr h="261240">
                <a:tc>
                  <a:txBody>
                    <a:bodyPr/>
                    <a:lstStyle/>
                    <a:p>
                      <a:pPr>
                        <a:lnSpc>
                          <a:spcPct val="107000"/>
                        </a:lnSpc>
                        <a:spcAft>
                          <a:spcPts val="0"/>
                        </a:spcAft>
                      </a:pPr>
                      <a:r>
                        <a:rPr lang="en-US" sz="1400">
                          <a:effectLst/>
                        </a:rPr>
                        <a:t>variables</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Returns the children of all variables given a variable reference</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5"/>
                  </a:ext>
                </a:extLst>
              </a:tr>
              <a:tr h="261240">
                <a:tc>
                  <a:txBody>
                    <a:bodyPr/>
                    <a:lstStyle/>
                    <a:p>
                      <a:pPr>
                        <a:lnSpc>
                          <a:spcPct val="107000"/>
                        </a:lnSpc>
                        <a:spcAft>
                          <a:spcPts val="0"/>
                        </a:spcAft>
                      </a:pPr>
                      <a:r>
                        <a:rPr lang="en-US" sz="1400" i="1" dirty="0">
                          <a:effectLst/>
                        </a:rPr>
                        <a:t>Event</a:t>
                      </a:r>
                      <a:endParaRPr lang="de-CH" sz="1400" i="1"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 </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6"/>
                  </a:ext>
                </a:extLst>
              </a:tr>
              <a:tr h="261240">
                <a:tc>
                  <a:txBody>
                    <a:bodyPr/>
                    <a:lstStyle/>
                    <a:p>
                      <a:pPr>
                        <a:lnSpc>
                          <a:spcPct val="107000"/>
                        </a:lnSpc>
                        <a:spcAft>
                          <a:spcPts val="0"/>
                        </a:spcAft>
                      </a:pPr>
                      <a:r>
                        <a:rPr lang="en-US" sz="1400">
                          <a:effectLst/>
                        </a:rPr>
                        <a:t>stopped</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a:effectLst/>
                        </a:rPr>
                        <a:t>The execution of the debugee has stopped</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7"/>
                  </a:ext>
                </a:extLst>
              </a:tr>
              <a:tr h="261240">
                <a:tc>
                  <a:txBody>
                    <a:bodyPr/>
                    <a:lstStyle/>
                    <a:p>
                      <a:pPr>
                        <a:lnSpc>
                          <a:spcPct val="107000"/>
                        </a:lnSpc>
                        <a:spcAft>
                          <a:spcPts val="0"/>
                        </a:spcAft>
                      </a:pPr>
                      <a:r>
                        <a:rPr lang="en-US" sz="1400">
                          <a:effectLst/>
                        </a:rPr>
                        <a:t>exited</a:t>
                      </a:r>
                      <a:endParaRPr lang="de-CH" sz="140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tc>
                  <a:txBody>
                    <a:bodyPr/>
                    <a:lstStyle/>
                    <a:p>
                      <a:pPr>
                        <a:lnSpc>
                          <a:spcPct val="107000"/>
                        </a:lnSpc>
                        <a:spcAft>
                          <a:spcPts val="0"/>
                        </a:spcAft>
                      </a:pPr>
                      <a:r>
                        <a:rPr lang="en-US" sz="1400" dirty="0">
                          <a:effectLst/>
                        </a:rPr>
                        <a:t>The debugee has terminated</a:t>
                      </a:r>
                      <a:endParaRPr lang="de-CH"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232" marR="67232" marT="0" marB="0"/>
                </a:tc>
                <a:extLst>
                  <a:ext uri="{0D108BD9-81ED-4DB2-BD59-A6C34878D82A}">
                    <a16:rowId xmlns:a16="http://schemas.microsoft.com/office/drawing/2014/main" val="10008"/>
                  </a:ext>
                </a:extLst>
              </a:tr>
            </a:tbl>
          </a:graphicData>
        </a:graphic>
      </p:graphicFrame>
      <p:sp>
        <p:nvSpPr>
          <p:cNvPr id="6" name="TextBox 5"/>
          <p:cNvSpPr txBox="1"/>
          <p:nvPr/>
        </p:nvSpPr>
        <p:spPr>
          <a:xfrm>
            <a:off x="4119411" y="836889"/>
            <a:ext cx="4235548" cy="615522"/>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2353" b="1" dirty="0">
                <a:gradFill>
                  <a:gsLst>
                    <a:gs pos="2917">
                      <a:srgbClr val="404040"/>
                    </a:gs>
                    <a:gs pos="30000">
                      <a:srgbClr val="404040"/>
                    </a:gs>
                  </a:gsLst>
                  <a:lin ang="5400000" scaled="0"/>
                </a:gradFill>
              </a:rPr>
              <a:t>Language Worker Service</a:t>
            </a:r>
          </a:p>
        </p:txBody>
      </p:sp>
      <p:sp>
        <p:nvSpPr>
          <p:cNvPr id="7" name="TextBox 6"/>
          <p:cNvSpPr txBox="1"/>
          <p:nvPr/>
        </p:nvSpPr>
        <p:spPr>
          <a:xfrm>
            <a:off x="7719627" y="2954663"/>
            <a:ext cx="4376733" cy="615522"/>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2353" b="1" dirty="0">
                <a:gradFill>
                  <a:gsLst>
                    <a:gs pos="2917">
                      <a:srgbClr val="404040"/>
                    </a:gs>
                    <a:gs pos="30000">
                      <a:srgbClr val="404040"/>
                    </a:gs>
                  </a:gsLst>
                  <a:lin ang="5400000" scaled="0"/>
                </a:gradFill>
              </a:rPr>
              <a:t>Debugger Adapter Service</a:t>
            </a:r>
          </a:p>
        </p:txBody>
      </p:sp>
    </p:spTree>
    <p:extLst>
      <p:ext uri="{BB962C8B-B14F-4D97-AF65-F5344CB8AC3E}">
        <p14:creationId xmlns:p14="http://schemas.microsoft.com/office/powerpoint/2010/main" val="116096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89495"/>
            <a:ext cx="11653523" cy="4924174"/>
          </a:xfrm>
        </p:spPr>
        <p:txBody>
          <a:bodyPr/>
          <a:lstStyle/>
          <a:p>
            <a:pPr marL="0" indent="0">
              <a:buNone/>
            </a:pPr>
            <a:endParaRPr lang="en-US" sz="7058" dirty="0"/>
          </a:p>
          <a:p>
            <a:pPr marL="0" indent="0">
              <a:buNone/>
            </a:pPr>
            <a:r>
              <a:rPr lang="en-US" sz="7058" u="sng" dirty="0">
                <a:hlinkClick r:id="rId2"/>
              </a:rPr>
              <a:t>http://code.visualstudio.com</a:t>
            </a:r>
            <a:endParaRPr lang="en-US" sz="7058" u="sng" dirty="0"/>
          </a:p>
          <a:p>
            <a:pPr marL="0" indent="0">
              <a:buNone/>
            </a:pPr>
            <a:endParaRPr lang="en-US" sz="1961" dirty="0"/>
          </a:p>
          <a:p>
            <a:pPr marL="0" indent="0">
              <a:buNone/>
            </a:pPr>
            <a:r>
              <a:rPr lang="en-US" sz="2745" dirty="0"/>
              <a:t>Connect with us </a:t>
            </a:r>
            <a:r>
              <a:rPr lang="en-US" sz="2745" dirty="0">
                <a:hlinkClick r:id="rId3"/>
              </a:rPr>
              <a:t>https://code.visualstudio.com/Home/Connect</a:t>
            </a:r>
            <a:endParaRPr lang="en-US" sz="2745" dirty="0"/>
          </a:p>
          <a:p>
            <a:pPr marL="0" indent="0">
              <a:buNone/>
            </a:pPr>
            <a:r>
              <a:rPr lang="en-US" sz="2745" dirty="0"/>
              <a:t>Join the Insiders group</a:t>
            </a:r>
            <a:endParaRPr lang="en-US" sz="7058" dirty="0"/>
          </a:p>
          <a:p>
            <a:pPr marL="0" indent="0">
              <a:buNone/>
            </a:pPr>
            <a:r>
              <a:rPr lang="en-US" sz="2745" dirty="0"/>
              <a:t>Send us a smile</a:t>
            </a:r>
          </a:p>
          <a:p>
            <a:pPr marL="0" indent="0">
              <a:buNone/>
            </a:pPr>
            <a:r>
              <a:rPr lang="en-US" sz="2745" dirty="0"/>
              <a:t>Send us suggestions</a:t>
            </a:r>
            <a:br>
              <a:rPr lang="en-US" sz="2745" dirty="0"/>
            </a:br>
            <a:r>
              <a:rPr lang="en-US" sz="2745" dirty="0"/>
              <a:t>Send us bugs</a:t>
            </a:r>
          </a:p>
        </p:txBody>
      </p:sp>
      <p:sp>
        <p:nvSpPr>
          <p:cNvPr id="2" name="Title 1"/>
          <p:cNvSpPr>
            <a:spLocks noGrp="1"/>
          </p:cNvSpPr>
          <p:nvPr>
            <p:ph type="title"/>
          </p:nvPr>
        </p:nvSpPr>
        <p:spPr/>
        <p:txBody>
          <a:bodyPr/>
          <a:lstStyle/>
          <a:p>
            <a:r>
              <a:rPr lang="en-US" dirty="0"/>
              <a:t>Call to Action</a:t>
            </a:r>
          </a:p>
        </p:txBody>
      </p:sp>
    </p:spTree>
    <p:extLst>
      <p:ext uri="{BB962C8B-B14F-4D97-AF65-F5344CB8AC3E}">
        <p14:creationId xmlns:p14="http://schemas.microsoft.com/office/powerpoint/2010/main" val="176618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2017150"/>
            <a:ext cx="11922760" cy="4306141"/>
          </a:xfrm>
        </p:spPr>
        <p:txBody>
          <a:bodyPr/>
          <a:lstStyle/>
          <a:p>
            <a:r>
              <a:rPr lang="en-US" b="1" dirty="0"/>
              <a:t>OmniSharp </a:t>
            </a:r>
            <a:r>
              <a:rPr lang="en-US" b="1" dirty="0">
                <a:hlinkClick r:id="rId3"/>
              </a:rPr>
              <a:t>http://www.omnisharp.net/</a:t>
            </a:r>
            <a:endParaRPr lang="en-US" b="1" dirty="0"/>
          </a:p>
          <a:p>
            <a:r>
              <a:rPr lang="en-US" b="1" dirty="0"/>
              <a:t>TypeScript </a:t>
            </a:r>
            <a:r>
              <a:rPr lang="en-US" b="1" dirty="0">
                <a:hlinkClick r:id="rId4"/>
              </a:rPr>
              <a:t>http://www.typescriptlang.org/</a:t>
            </a:r>
            <a:endParaRPr lang="en-US" b="1" dirty="0"/>
          </a:p>
          <a:p>
            <a:r>
              <a:rPr lang="de-CH" dirty="0"/>
              <a:t>Yo generator </a:t>
            </a:r>
            <a:r>
              <a:rPr lang="de-CH" u="sng" dirty="0">
                <a:hlinkClick r:id="rId5"/>
              </a:rPr>
              <a:t>http://jpapa.me/yohottowel</a:t>
            </a:r>
            <a:r>
              <a:rPr lang="de-CH" dirty="0"/>
              <a:t> </a:t>
            </a:r>
          </a:p>
          <a:p>
            <a:r>
              <a:rPr lang="de-CH" dirty="0"/>
              <a:t>Snippets </a:t>
            </a:r>
            <a:r>
              <a:rPr lang="de-CH" u="sng" dirty="0">
                <a:hlinkClick r:id="rId6"/>
              </a:rPr>
              <a:t>http://jpapa.me/ngstyles</a:t>
            </a:r>
            <a:endParaRPr lang="de-CH" dirty="0"/>
          </a:p>
          <a:p>
            <a:r>
              <a:rPr lang="de-CH" dirty="0"/>
              <a:t>VS Code stuff </a:t>
            </a:r>
            <a:r>
              <a:rPr lang="de-CH" u="sng" dirty="0">
                <a:hlinkClick r:id="rId7"/>
              </a:rPr>
              <a:t>http://johnpapa.net/visual-studio-code</a:t>
            </a:r>
            <a:r>
              <a:rPr lang="de-CH" dirty="0"/>
              <a:t> </a:t>
            </a:r>
          </a:p>
          <a:p>
            <a:r>
              <a:rPr lang="de-CH" dirty="0"/>
              <a:t>TypeScript demo </a:t>
            </a:r>
            <a:r>
              <a:rPr lang="de-CH" u="sng" dirty="0">
                <a:hlinkClick r:id="rId8"/>
              </a:rPr>
              <a:t>http://jpapa.me/vscodetsdemo</a:t>
            </a:r>
            <a:endParaRPr lang="de-CH" dirty="0"/>
          </a:p>
          <a:p>
            <a:pPr marL="0" indent="0">
              <a:buNone/>
            </a:pPr>
            <a:endParaRPr lang="en-US" b="1" dirty="0"/>
          </a:p>
        </p:txBody>
      </p:sp>
      <p:sp>
        <p:nvSpPr>
          <p:cNvPr id="3" name="Title 2"/>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176664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Agenda"/>
          <p:cNvSpPr>
            <a:spLocks noChangeAspect="1" noChangeArrowheads="1"/>
          </p:cNvSpPr>
          <p:nvPr/>
        </p:nvSpPr>
        <p:spPr bwMode="auto">
          <a:xfrm>
            <a:off x="-37351" y="-2872898"/>
            <a:ext cx="6162920" cy="61629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ko-KR" altLang="en-US" sz="1765" b="0" i="0" u="none" strike="noStrike" kern="1200" cap="none" spc="0" normalizeH="0" baseline="0" noProof="0">
              <a:ln>
                <a:noFill/>
              </a:ln>
              <a:solidFill>
                <a:srgbClr val="060F18"/>
              </a:solidFill>
              <a:effectLst/>
              <a:uLnTx/>
              <a:uFillTx/>
              <a:latin typeface="Segoe UI"/>
              <a:ea typeface="+mn-ea"/>
              <a:cs typeface="+mn-cs"/>
            </a:endParaRPr>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602" y="2401901"/>
            <a:ext cx="9523116" cy="4123509"/>
          </a:xfrm>
          <a:prstGeom prst="rect">
            <a:avLst/>
          </a:prstGeom>
        </p:spPr>
      </p:pic>
    </p:spTree>
    <p:extLst>
      <p:ext uri="{BB962C8B-B14F-4D97-AF65-F5344CB8AC3E}">
        <p14:creationId xmlns:p14="http://schemas.microsoft.com/office/powerpoint/2010/main" val="37519784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327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p:txBody>
          <a:bodyPr/>
          <a:lstStyle/>
          <a:p>
            <a:r>
              <a:rPr lang="de-CH" dirty="0"/>
              <a:t>3-680 </a:t>
            </a:r>
            <a:endParaRPr lang="en-US" dirty="0"/>
          </a:p>
        </p:txBody>
      </p:sp>
      <p:sp>
        <p:nvSpPr>
          <p:cNvPr id="2" name="Title 1"/>
          <p:cNvSpPr>
            <a:spLocks noGrp="1"/>
          </p:cNvSpPr>
          <p:nvPr>
            <p:ph type="title"/>
          </p:nvPr>
        </p:nvSpPr>
        <p:spPr/>
        <p:txBody>
          <a:bodyPr/>
          <a:lstStyle/>
          <a:p>
            <a:r>
              <a:rPr lang="en-US" b="1" dirty="0"/>
              <a:t>Visual Studio Code</a:t>
            </a:r>
            <a:br>
              <a:rPr lang="en-US" dirty="0"/>
            </a:br>
            <a:r>
              <a:rPr lang="en-US" sz="3921" dirty="0"/>
              <a:t>A deep dive on the code editor for OS X, Linux and Windows</a:t>
            </a:r>
          </a:p>
        </p:txBody>
      </p:sp>
      <p:sp>
        <p:nvSpPr>
          <p:cNvPr id="3" name="Subtitle 2"/>
          <p:cNvSpPr>
            <a:spLocks noGrp="1"/>
          </p:cNvSpPr>
          <p:nvPr>
            <p:ph type="body" sz="quarter" idx="13"/>
          </p:nvPr>
        </p:nvSpPr>
        <p:spPr>
          <a:xfrm>
            <a:off x="269303" y="302061"/>
            <a:ext cx="4626626" cy="1225009"/>
          </a:xfrm>
        </p:spPr>
        <p:txBody>
          <a:bodyPr/>
          <a:lstStyle/>
          <a:p>
            <a:r>
              <a:rPr lang="en-US" dirty="0"/>
              <a:t>Chris Dias - Microsoft</a:t>
            </a:r>
          </a:p>
          <a:p>
            <a:r>
              <a:rPr lang="en-US" dirty="0"/>
              <a:t>Erich Gamma - Microsoft</a:t>
            </a:r>
          </a:p>
          <a:p>
            <a:r>
              <a:rPr lang="en-US" dirty="0"/>
              <a:t>John Papa - johnpapa.net</a:t>
            </a:r>
          </a:p>
        </p:txBody>
      </p:sp>
      <p:pic>
        <p:nvPicPr>
          <p:cNvPr id="4" name="그림 3"/>
          <p:cNvPicPr>
            <a:picLocks noChangeAspect="1"/>
          </p:cNvPicPr>
          <p:nvPr/>
        </p:nvPicPr>
        <p:blipFill>
          <a:blip r:embed="rId3"/>
          <a:stretch>
            <a:fillRect/>
          </a:stretch>
        </p:blipFill>
        <p:spPr>
          <a:xfrm>
            <a:off x="4008221" y="436441"/>
            <a:ext cx="5889842" cy="3307373"/>
          </a:xfrm>
          <a:prstGeom prst="rect">
            <a:avLst/>
          </a:prstGeom>
        </p:spPr>
      </p:pic>
    </p:spTree>
    <p:extLst>
      <p:ext uri="{BB962C8B-B14F-4D97-AF65-F5344CB8AC3E}">
        <p14:creationId xmlns:p14="http://schemas.microsoft.com/office/powerpoint/2010/main" val="16621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217487" y="355601"/>
            <a:ext cx="9026526" cy="6318568"/>
          </a:xfrm>
          <a:prstGeom prst="rect">
            <a:avLst/>
          </a:prstGeom>
        </p:spPr>
      </p:pic>
    </p:spTree>
    <p:extLst>
      <p:ext uri="{BB962C8B-B14F-4D97-AF65-F5344CB8AC3E}">
        <p14:creationId xmlns:p14="http://schemas.microsoft.com/office/powerpoint/2010/main" val="17015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366304" y="780441"/>
            <a:ext cx="1417632" cy="695703"/>
          </a:xfrm>
          <a:prstGeom prst="rect">
            <a:avLst/>
          </a:prstGeom>
        </p:spPr>
        <p:txBody>
          <a:bodyPr wrap="none">
            <a:spAutoFit/>
          </a:bodyPr>
          <a:lstStyle/>
          <a:p>
            <a:pPr defTabSz="914367" latinLnBrk="0"/>
            <a:r>
              <a:rPr lang="en-US" sz="3921" dirty="0">
                <a:solidFill>
                  <a:srgbClr val="404040"/>
                </a:solidFill>
              </a:rPr>
              <a:t>editor</a:t>
            </a:r>
            <a:endParaRPr lang="de-CH" sz="1765" dirty="0">
              <a:solidFill>
                <a:srgbClr val="404040"/>
              </a:solidFill>
            </a:endParaRPr>
          </a:p>
        </p:txBody>
      </p:sp>
      <p:sp>
        <p:nvSpPr>
          <p:cNvPr id="11" name="Rectangle 10"/>
          <p:cNvSpPr/>
          <p:nvPr/>
        </p:nvSpPr>
        <p:spPr>
          <a:xfrm>
            <a:off x="9625624" y="803378"/>
            <a:ext cx="865943" cy="695703"/>
          </a:xfrm>
          <a:prstGeom prst="rect">
            <a:avLst/>
          </a:prstGeom>
        </p:spPr>
        <p:txBody>
          <a:bodyPr wrap="none">
            <a:spAutoFit/>
          </a:bodyPr>
          <a:lstStyle/>
          <a:p>
            <a:pPr defTabSz="914367" latinLnBrk="0"/>
            <a:r>
              <a:rPr lang="en-US" sz="3921" dirty="0">
                <a:solidFill>
                  <a:srgbClr val="404040"/>
                </a:solidFill>
              </a:rPr>
              <a:t>IDE</a:t>
            </a:r>
            <a:endParaRPr lang="de-CH" sz="1765" dirty="0">
              <a:solidFill>
                <a:srgbClr val="404040"/>
              </a:solidFill>
            </a:endParaRPr>
          </a:p>
        </p:txBody>
      </p:sp>
      <p:cxnSp>
        <p:nvCxnSpPr>
          <p:cNvPr id="14" name="Straight Arrow Connector 13"/>
          <p:cNvCxnSpPr/>
          <p:nvPr/>
        </p:nvCxnSpPr>
        <p:spPr>
          <a:xfrm flipV="1">
            <a:off x="3216396" y="1141647"/>
            <a:ext cx="6056266" cy="8715"/>
          </a:xfrm>
          <a:prstGeom prst="straightConnector1">
            <a:avLst/>
          </a:prstGeom>
          <a:ln w="762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239806" y="1474411"/>
            <a:ext cx="3953179" cy="2220706"/>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2353" dirty="0">
                <a:solidFill>
                  <a:srgbClr val="00BCF2">
                    <a:lumMod val="75000"/>
                  </a:srgbClr>
                </a:solidFill>
              </a:rPr>
              <a:t>lightweight/fast</a:t>
            </a:r>
          </a:p>
          <a:p>
            <a:pPr defTabSz="914367" latinLnBrk="0">
              <a:lnSpc>
                <a:spcPct val="90000"/>
              </a:lnSpc>
              <a:spcAft>
                <a:spcPts val="588"/>
              </a:spcAft>
            </a:pPr>
            <a:r>
              <a:rPr lang="de-CH" sz="2353" dirty="0">
                <a:solidFill>
                  <a:srgbClr val="00BCF2">
                    <a:lumMod val="75000"/>
                  </a:srgbClr>
                </a:solidFill>
              </a:rPr>
              <a:t>file/folders</a:t>
            </a:r>
          </a:p>
          <a:p>
            <a:pPr defTabSz="914367" latinLnBrk="0">
              <a:lnSpc>
                <a:spcPct val="90000"/>
              </a:lnSpc>
              <a:spcAft>
                <a:spcPts val="588"/>
              </a:spcAft>
            </a:pPr>
            <a:r>
              <a:rPr lang="de-CH" sz="2353" dirty="0">
                <a:solidFill>
                  <a:srgbClr val="00BCF2">
                    <a:lumMod val="75000"/>
                  </a:srgbClr>
                </a:solidFill>
              </a:rPr>
              <a:t>many languages</a:t>
            </a:r>
          </a:p>
          <a:p>
            <a:pPr defTabSz="914367" latinLnBrk="0">
              <a:lnSpc>
                <a:spcPct val="90000"/>
              </a:lnSpc>
              <a:spcAft>
                <a:spcPts val="588"/>
              </a:spcAft>
            </a:pPr>
            <a:r>
              <a:rPr lang="de-CH" sz="2353" dirty="0">
                <a:solidFill>
                  <a:srgbClr val="00BCF2">
                    <a:lumMod val="75000"/>
                  </a:srgbClr>
                </a:solidFill>
              </a:rPr>
              <a:t>many workflows</a:t>
            </a:r>
          </a:p>
          <a:p>
            <a:pPr defTabSz="914367" latinLnBrk="0">
              <a:lnSpc>
                <a:spcPct val="90000"/>
              </a:lnSpc>
              <a:spcAft>
                <a:spcPts val="588"/>
              </a:spcAft>
            </a:pPr>
            <a:r>
              <a:rPr lang="de-CH" sz="2353" dirty="0">
                <a:solidFill>
                  <a:srgbClr val="00BCF2">
                    <a:lumMod val="75000"/>
                  </a:srgbClr>
                </a:solidFill>
              </a:rPr>
              <a:t>keyboard centered </a:t>
            </a:r>
          </a:p>
        </p:txBody>
      </p:sp>
      <p:sp>
        <p:nvSpPr>
          <p:cNvPr id="16" name="TextBox 15"/>
          <p:cNvSpPr txBox="1"/>
          <p:nvPr/>
        </p:nvSpPr>
        <p:spPr>
          <a:xfrm>
            <a:off x="6731332" y="1474411"/>
            <a:ext cx="3953179" cy="3825890"/>
          </a:xfrm>
          <a:prstGeom prst="rect">
            <a:avLst/>
          </a:prstGeom>
          <a:noFill/>
        </p:spPr>
        <p:txBody>
          <a:bodyPr wrap="square" lIns="179285" tIns="143428" rIns="179285" bIns="143428" rtlCol="0">
            <a:spAutoFit/>
          </a:bodyPr>
          <a:lstStyle/>
          <a:p>
            <a:pPr algn="r" defTabSz="914367" latinLnBrk="0">
              <a:lnSpc>
                <a:spcPct val="90000"/>
              </a:lnSpc>
              <a:spcAft>
                <a:spcPts val="588"/>
              </a:spcAft>
            </a:pPr>
            <a:r>
              <a:rPr lang="de-CH" sz="2353" dirty="0">
                <a:solidFill>
                  <a:srgbClr val="BAD80A">
                    <a:lumMod val="75000"/>
                  </a:srgbClr>
                </a:solidFill>
              </a:rPr>
              <a:t>project systems</a:t>
            </a:r>
          </a:p>
          <a:p>
            <a:pPr algn="r" defTabSz="914367" latinLnBrk="0">
              <a:lnSpc>
                <a:spcPct val="90000"/>
              </a:lnSpc>
              <a:spcAft>
                <a:spcPts val="588"/>
              </a:spcAft>
            </a:pPr>
            <a:r>
              <a:rPr lang="de-CH" sz="2353" dirty="0">
                <a:solidFill>
                  <a:srgbClr val="BAD80A">
                    <a:lumMod val="75000"/>
                  </a:srgbClr>
                </a:solidFill>
              </a:rPr>
              <a:t>code understanding</a:t>
            </a:r>
          </a:p>
          <a:p>
            <a:pPr algn="r" defTabSz="914367" latinLnBrk="0">
              <a:lnSpc>
                <a:spcPct val="90000"/>
              </a:lnSpc>
              <a:spcAft>
                <a:spcPts val="588"/>
              </a:spcAft>
            </a:pPr>
            <a:r>
              <a:rPr lang="de-CH" sz="2353" dirty="0">
                <a:solidFill>
                  <a:srgbClr val="BAD80A">
                    <a:lumMod val="75000"/>
                  </a:srgbClr>
                </a:solidFill>
              </a:rPr>
              <a:t>debug</a:t>
            </a:r>
          </a:p>
          <a:p>
            <a:pPr algn="r" defTabSz="914367" latinLnBrk="0">
              <a:lnSpc>
                <a:spcPct val="90000"/>
              </a:lnSpc>
              <a:spcAft>
                <a:spcPts val="588"/>
              </a:spcAft>
            </a:pPr>
            <a:r>
              <a:rPr lang="de-CH" sz="2353" dirty="0">
                <a:solidFill>
                  <a:srgbClr val="BAD80A">
                    <a:lumMod val="75000"/>
                  </a:srgbClr>
                </a:solidFill>
              </a:rPr>
              <a:t>integrated build</a:t>
            </a:r>
          </a:p>
          <a:p>
            <a:pPr algn="r" defTabSz="914367" latinLnBrk="0">
              <a:lnSpc>
                <a:spcPct val="90000"/>
              </a:lnSpc>
              <a:spcAft>
                <a:spcPts val="588"/>
              </a:spcAft>
            </a:pPr>
            <a:r>
              <a:rPr lang="de-CH" sz="2353" dirty="0">
                <a:solidFill>
                  <a:srgbClr val="BAD80A">
                    <a:lumMod val="75000"/>
                  </a:srgbClr>
                </a:solidFill>
              </a:rPr>
              <a:t>File&gt;New, wizards</a:t>
            </a:r>
          </a:p>
          <a:p>
            <a:pPr algn="r" defTabSz="914367" latinLnBrk="0">
              <a:lnSpc>
                <a:spcPct val="90000"/>
              </a:lnSpc>
              <a:spcAft>
                <a:spcPts val="588"/>
              </a:spcAft>
            </a:pPr>
            <a:r>
              <a:rPr lang="de-CH" sz="2353" dirty="0">
                <a:solidFill>
                  <a:srgbClr val="BAD80A">
                    <a:lumMod val="75000"/>
                  </a:srgbClr>
                </a:solidFill>
              </a:rPr>
              <a:t>designers</a:t>
            </a:r>
          </a:p>
          <a:p>
            <a:pPr algn="r" defTabSz="914367" latinLnBrk="0">
              <a:lnSpc>
                <a:spcPct val="90000"/>
              </a:lnSpc>
              <a:spcAft>
                <a:spcPts val="588"/>
              </a:spcAft>
            </a:pPr>
            <a:r>
              <a:rPr lang="de-CH" sz="2353" dirty="0">
                <a:solidFill>
                  <a:srgbClr val="BAD80A">
                    <a:lumMod val="75000"/>
                  </a:srgbClr>
                </a:solidFill>
              </a:rPr>
              <a:t>ALM integration</a:t>
            </a:r>
          </a:p>
          <a:p>
            <a:pPr algn="r" defTabSz="914367" latinLnBrk="0">
              <a:lnSpc>
                <a:spcPct val="90000"/>
              </a:lnSpc>
              <a:spcAft>
                <a:spcPts val="588"/>
              </a:spcAft>
            </a:pPr>
            <a:r>
              <a:rPr lang="de-CH" sz="2353" dirty="0">
                <a:solidFill>
                  <a:srgbClr val="BAD80A">
                    <a:lumMod val="75000"/>
                  </a:srgbClr>
                </a:solidFill>
              </a:rPr>
              <a:t>platform tools</a:t>
            </a:r>
          </a:p>
          <a:p>
            <a:pPr algn="r" defTabSz="914367" latinLnBrk="0">
              <a:lnSpc>
                <a:spcPct val="90000"/>
              </a:lnSpc>
              <a:spcAft>
                <a:spcPts val="588"/>
              </a:spcAft>
            </a:pPr>
            <a:r>
              <a:rPr lang="de-CH" sz="2353" dirty="0">
                <a:solidFill>
                  <a:srgbClr val="BAD80A">
                    <a:lumMod val="75000"/>
                  </a:srgbClr>
                </a:solidFill>
              </a:rPr>
              <a:t>...</a:t>
            </a:r>
          </a:p>
        </p:txBody>
      </p:sp>
      <p:grpSp>
        <p:nvGrpSpPr>
          <p:cNvPr id="3" name="Group 2"/>
          <p:cNvGrpSpPr/>
          <p:nvPr/>
        </p:nvGrpSpPr>
        <p:grpSpPr>
          <a:xfrm>
            <a:off x="1366305" y="1474411"/>
            <a:ext cx="7946811" cy="5461954"/>
            <a:chOff x="1393701" y="1503479"/>
            <a:chExt cx="8106161" cy="5571478"/>
          </a:xfrm>
        </p:grpSpPr>
        <p:cxnSp>
          <p:nvCxnSpPr>
            <p:cNvPr id="19" name="Straight Arrow Connector 18"/>
            <p:cNvCxnSpPr/>
            <p:nvPr/>
          </p:nvCxnSpPr>
          <p:spPr>
            <a:xfrm flipV="1">
              <a:off x="4706069" y="1503479"/>
              <a:ext cx="0" cy="2232248"/>
            </a:xfrm>
            <a:prstGeom prst="straightConnector1">
              <a:avLst/>
            </a:prstGeom>
            <a:ln w="762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393701" y="3991036"/>
              <a:ext cx="8106161" cy="3083921"/>
              <a:chOff x="1393701" y="3991036"/>
              <a:chExt cx="8106161" cy="3083921"/>
            </a:xfrm>
          </p:grpSpPr>
          <p:sp>
            <p:nvSpPr>
              <p:cNvPr id="18" name="TextBox 17"/>
              <p:cNvSpPr txBox="1"/>
              <p:nvPr/>
            </p:nvSpPr>
            <p:spPr>
              <a:xfrm>
                <a:off x="3265909" y="3991036"/>
                <a:ext cx="6233953" cy="308392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de-CH" sz="2353" dirty="0">
                    <a:solidFill>
                      <a:srgbClr val="00BCF2">
                        <a:lumMod val="75000"/>
                      </a:srgbClr>
                    </a:solidFill>
                  </a:rPr>
                  <a:t>lightweight/fast</a:t>
                </a:r>
              </a:p>
              <a:p>
                <a:pPr defTabSz="914367" latinLnBrk="0">
                  <a:lnSpc>
                    <a:spcPct val="90000"/>
                  </a:lnSpc>
                  <a:spcAft>
                    <a:spcPts val="588"/>
                  </a:spcAft>
                </a:pPr>
                <a:r>
                  <a:rPr lang="de-CH" sz="2353" dirty="0">
                    <a:solidFill>
                      <a:srgbClr val="00BCF2">
                        <a:lumMod val="75000"/>
                      </a:srgbClr>
                    </a:solidFill>
                  </a:rPr>
                  <a:t>file/folders</a:t>
                </a:r>
                <a:r>
                  <a:rPr lang="de-CH" sz="2353" dirty="0">
                    <a:gradFill>
                      <a:gsLst>
                        <a:gs pos="2917">
                          <a:srgbClr val="404040"/>
                        </a:gs>
                        <a:gs pos="30000">
                          <a:srgbClr val="404040"/>
                        </a:gs>
                      </a:gsLst>
                      <a:lin ang="5400000" scaled="0"/>
                    </a:gradFill>
                  </a:rPr>
                  <a:t> </a:t>
                </a:r>
                <a:r>
                  <a:rPr lang="de-CH" sz="2353" dirty="0">
                    <a:solidFill>
                      <a:srgbClr val="BAD80A">
                        <a:lumMod val="75000"/>
                      </a:srgbClr>
                    </a:solidFill>
                  </a:rPr>
                  <a:t>with project context</a:t>
                </a:r>
              </a:p>
              <a:p>
                <a:pPr defTabSz="914367" latinLnBrk="0">
                  <a:lnSpc>
                    <a:spcPct val="90000"/>
                  </a:lnSpc>
                  <a:spcAft>
                    <a:spcPts val="588"/>
                  </a:spcAft>
                </a:pPr>
                <a:r>
                  <a:rPr lang="de-CH" sz="2353" dirty="0">
                    <a:solidFill>
                      <a:srgbClr val="00BCF2">
                        <a:lumMod val="75000"/>
                      </a:srgbClr>
                    </a:solidFill>
                  </a:rPr>
                  <a:t>many languages</a:t>
                </a:r>
              </a:p>
              <a:p>
                <a:pPr defTabSz="914367" latinLnBrk="0">
                  <a:lnSpc>
                    <a:spcPct val="90000"/>
                  </a:lnSpc>
                  <a:spcAft>
                    <a:spcPts val="588"/>
                  </a:spcAft>
                </a:pPr>
                <a:r>
                  <a:rPr lang="de-CH" sz="2353" dirty="0">
                    <a:solidFill>
                      <a:srgbClr val="00BCF2">
                        <a:lumMod val="75000"/>
                      </a:srgbClr>
                    </a:solidFill>
                  </a:rPr>
                  <a:t>keyboard centered</a:t>
                </a:r>
              </a:p>
              <a:p>
                <a:pPr defTabSz="914367" latinLnBrk="0">
                  <a:lnSpc>
                    <a:spcPct val="90000"/>
                  </a:lnSpc>
                  <a:spcAft>
                    <a:spcPts val="588"/>
                  </a:spcAft>
                </a:pPr>
                <a:r>
                  <a:rPr lang="de-CH" sz="2353" dirty="0">
                    <a:solidFill>
                      <a:srgbClr val="BAD80A">
                        <a:lumMod val="75000"/>
                      </a:srgbClr>
                    </a:solidFill>
                  </a:rPr>
                  <a:t>code understanding (some languages)</a:t>
                </a:r>
              </a:p>
              <a:p>
                <a:pPr defTabSz="914367" latinLnBrk="0">
                  <a:lnSpc>
                    <a:spcPct val="90000"/>
                  </a:lnSpc>
                  <a:spcAft>
                    <a:spcPts val="588"/>
                  </a:spcAft>
                </a:pPr>
                <a:r>
                  <a:rPr lang="de-CH" sz="2353" dirty="0">
                    <a:solidFill>
                      <a:srgbClr val="BAD80A">
                        <a:lumMod val="75000"/>
                      </a:srgbClr>
                    </a:solidFill>
                  </a:rPr>
                  <a:t>debug</a:t>
                </a:r>
              </a:p>
              <a:p>
                <a:pPr defTabSz="914367" latinLnBrk="0">
                  <a:lnSpc>
                    <a:spcPct val="90000"/>
                  </a:lnSpc>
                  <a:spcAft>
                    <a:spcPts val="588"/>
                  </a:spcAft>
                </a:pPr>
                <a:r>
                  <a:rPr lang="de-CH" sz="2353" dirty="0">
                    <a:solidFill>
                      <a:srgbClr val="BAD80A">
                        <a:lumMod val="75000"/>
                      </a:srgbClr>
                    </a:solidFill>
                  </a:rPr>
                  <a:t>task running</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3701" y="4864484"/>
                <a:ext cx="1337023" cy="1337023"/>
              </a:xfrm>
              <a:prstGeom prst="rect">
                <a:avLst/>
              </a:prstGeom>
            </p:spPr>
          </p:pic>
        </p:grpSp>
      </p:grpSp>
    </p:spTree>
    <p:extLst>
      <p:ext uri="{BB962C8B-B14F-4D97-AF65-F5344CB8AC3E}">
        <p14:creationId xmlns:p14="http://schemas.microsoft.com/office/powerpoint/2010/main" val="36325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2157" y="2107781"/>
            <a:ext cx="10659464" cy="2168329"/>
          </a:xfrm>
        </p:spPr>
        <p:txBody>
          <a:bodyPr/>
          <a:lstStyle/>
          <a:p>
            <a:r>
              <a:rPr lang="en-US" sz="3921" dirty="0"/>
              <a:t>Visual Studio Code a </a:t>
            </a:r>
            <a:r>
              <a:rPr lang="en-US" sz="3921" b="1" dirty="0">
                <a:solidFill>
                  <a:schemeClr val="accent2">
                    <a:lumMod val="75000"/>
                  </a:schemeClr>
                </a:solidFill>
              </a:rPr>
              <a:t>new choice</a:t>
            </a:r>
            <a:r>
              <a:rPr lang="en-US" sz="3921" dirty="0">
                <a:solidFill>
                  <a:schemeClr val="accent2">
                    <a:lumMod val="75000"/>
                  </a:schemeClr>
                </a:solidFill>
              </a:rPr>
              <a:t> </a:t>
            </a:r>
            <a:r>
              <a:rPr lang="en-US" sz="3921" dirty="0"/>
              <a:t>of tool that combines the </a:t>
            </a:r>
            <a:r>
              <a:rPr lang="en-US" sz="3921" b="1" dirty="0">
                <a:solidFill>
                  <a:schemeClr val="accent2">
                    <a:lumMod val="75000"/>
                  </a:schemeClr>
                </a:solidFill>
              </a:rPr>
              <a:t>simplicity of a code editor </a:t>
            </a:r>
            <a:r>
              <a:rPr lang="en-US" sz="3921" dirty="0"/>
              <a:t>with what developers need for their </a:t>
            </a:r>
            <a:r>
              <a:rPr lang="en-US" sz="3921" b="1" dirty="0">
                <a:solidFill>
                  <a:schemeClr val="accent2">
                    <a:lumMod val="75000"/>
                  </a:schemeClr>
                </a:solidFill>
              </a:rPr>
              <a:t>code-edit-debug cycle</a:t>
            </a:r>
            <a:r>
              <a:rPr lang="en-US" sz="3921" dirty="0"/>
              <a:t>.</a:t>
            </a:r>
          </a:p>
        </p:txBody>
      </p:sp>
    </p:spTree>
    <p:extLst>
      <p:ext uri="{BB962C8B-B14F-4D97-AF65-F5344CB8AC3E}">
        <p14:creationId xmlns:p14="http://schemas.microsoft.com/office/powerpoint/2010/main" val="172124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sual Studio Code</a:t>
            </a:r>
          </a:p>
        </p:txBody>
      </p:sp>
      <p:graphicFrame>
        <p:nvGraphicFramePr>
          <p:cNvPr id="8" name="Table 7"/>
          <p:cNvGraphicFramePr>
            <a:graphicFrameLocks noGrp="1"/>
          </p:cNvGraphicFramePr>
          <p:nvPr>
            <p:extLst/>
          </p:nvPr>
        </p:nvGraphicFramePr>
        <p:xfrm>
          <a:off x="519195" y="1523003"/>
          <a:ext cx="11405887" cy="4718987"/>
        </p:xfrm>
        <a:graphic>
          <a:graphicData uri="http://schemas.openxmlformats.org/drawingml/2006/table">
            <a:tbl>
              <a:tblPr firstRow="1" bandRow="1">
                <a:tableStyleId>{21E4AEA4-8DFA-4A89-87EB-49C32662AFE0}</a:tableStyleId>
              </a:tblPr>
              <a:tblGrid>
                <a:gridCol w="3529624">
                  <a:extLst>
                    <a:ext uri="{9D8B030D-6E8A-4147-A177-3AD203B41FA5}">
                      <a16:colId xmlns:a16="http://schemas.microsoft.com/office/drawing/2014/main" val="20000"/>
                    </a:ext>
                  </a:extLst>
                </a:gridCol>
                <a:gridCol w="7876263">
                  <a:extLst>
                    <a:ext uri="{9D8B030D-6E8A-4147-A177-3AD203B41FA5}">
                      <a16:colId xmlns:a16="http://schemas.microsoft.com/office/drawing/2014/main" val="20001"/>
                    </a:ext>
                  </a:extLst>
                </a:gridCol>
              </a:tblGrid>
              <a:tr h="726518">
                <a:tc>
                  <a:txBody>
                    <a:bodyPr/>
                    <a:lstStyle/>
                    <a:p>
                      <a:r>
                        <a:rPr lang="de-CH" sz="2400" b="1" dirty="0"/>
                        <a:t>runtimes</a:t>
                      </a:r>
                    </a:p>
                  </a:txBody>
                  <a:tcPr marL="89642" marR="89642" marT="44821" marB="44821">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2400" b="0" dirty="0"/>
                        <a:t>node.js,</a:t>
                      </a:r>
                      <a:r>
                        <a:rPr lang="de-CH" sz="2400" b="0" baseline="0" dirty="0"/>
                        <a:t> </a:t>
                      </a:r>
                      <a:r>
                        <a:rPr lang="de-CH" sz="2400" b="0" dirty="0"/>
                        <a:t>ASP.Net 5</a:t>
                      </a:r>
                    </a:p>
                  </a:txBody>
                  <a:tcPr marL="89642" marR="89642" marT="44821" marB="44821">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97109">
                <a:tc>
                  <a:txBody>
                    <a:bodyPr/>
                    <a:lstStyle/>
                    <a:p>
                      <a:r>
                        <a:rPr lang="de-CH" sz="2400" b="1" dirty="0"/>
                        <a:t>languages - basic</a:t>
                      </a:r>
                      <a:r>
                        <a:rPr lang="de-CH" sz="2400" b="1" dirty="0">
                          <a:solidFill>
                            <a:schemeClr val="accent6"/>
                          </a:solidFill>
                        </a:rPr>
                        <a:t>*</a:t>
                      </a:r>
                      <a:br>
                        <a:rPr lang="de-CH" sz="2400" b="1" dirty="0">
                          <a:solidFill>
                            <a:schemeClr val="accent6"/>
                          </a:solidFill>
                        </a:rPr>
                      </a:br>
                      <a:r>
                        <a:rPr lang="de-CH" sz="2000" b="0" dirty="0">
                          <a:solidFill>
                            <a:schemeClr val="tx1"/>
                          </a:solidFill>
                        </a:rPr>
                        <a:t>coloring, brackets, indent</a:t>
                      </a:r>
                      <a:endParaRPr lang="de-CH" sz="2400" b="1" dirty="0">
                        <a:solidFill>
                          <a:schemeClr val="tx1"/>
                        </a:solidFill>
                      </a:endParaRPr>
                    </a:p>
                  </a:txBody>
                  <a:tcPr marL="89642" marR="89642" marT="44821" marB="44821">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de-CH" sz="2400" dirty="0"/>
                        <a:t>CoffeeScript, Python, Ruby, Jade, Clojure,</a:t>
                      </a:r>
                      <a:r>
                        <a:rPr lang="de-CH" sz="2400" baseline="0" dirty="0"/>
                        <a:t> </a:t>
                      </a:r>
                      <a:r>
                        <a:rPr lang="de-CH" sz="2400" dirty="0"/>
                        <a:t>Java, C++,</a:t>
                      </a:r>
                      <a:r>
                        <a:rPr lang="de-CH" sz="2400" baseline="0" dirty="0"/>
                        <a:t> R, Go, makefile, shell, powershell, bat, XML, Markdown, ...</a:t>
                      </a:r>
                      <a:endParaRPr lang="de-CH" sz="2400" dirty="0"/>
                    </a:p>
                  </a:txBody>
                  <a:tcPr marL="89642" marR="89642" marT="44821" marB="44821">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1"/>
                  </a:ext>
                </a:extLst>
              </a:tr>
              <a:tr h="806782">
                <a:tc>
                  <a:txBody>
                    <a:bodyPr/>
                    <a:lstStyle/>
                    <a:p>
                      <a:r>
                        <a:rPr lang="de-CH" sz="2400" b="1" dirty="0"/>
                        <a:t>languages -</a:t>
                      </a:r>
                      <a:r>
                        <a:rPr lang="de-CH" sz="2400" b="1" baseline="0" dirty="0"/>
                        <a:t> better</a:t>
                      </a:r>
                      <a:br>
                        <a:rPr lang="de-CH" sz="2400" b="1" dirty="0"/>
                      </a:br>
                      <a:r>
                        <a:rPr lang="de-CH" sz="2400" b="1" dirty="0"/>
                        <a:t>+</a:t>
                      </a:r>
                      <a:r>
                        <a:rPr lang="de-CH" sz="2000" b="0" baseline="0" dirty="0"/>
                        <a:t> IntelliSense, linting, outline</a:t>
                      </a:r>
                      <a:endParaRPr lang="de-CH" sz="2400" b="1" dirty="0"/>
                    </a:p>
                  </a:txBody>
                  <a:tcPr marL="89642" marR="89642" marT="44821" marB="44821">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de-CH" sz="2400" dirty="0"/>
                        <a:t>JavaScript, HTML, CSS, LESS, SASS,</a:t>
                      </a:r>
                      <a:r>
                        <a:rPr lang="de-CH" sz="2400" baseline="0" dirty="0"/>
                        <a:t> </a:t>
                      </a:r>
                      <a:r>
                        <a:rPr lang="de-CH" sz="2400" dirty="0"/>
                        <a:t>JSON</a:t>
                      </a:r>
                    </a:p>
                    <a:p>
                      <a:endParaRPr lang="de-CH" sz="2400" dirty="0"/>
                    </a:p>
                  </a:txBody>
                  <a:tcPr marL="89642" marR="89642" marT="44821" marB="44821">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2"/>
                  </a:ext>
                </a:extLst>
              </a:tr>
              <a:tr h="806782">
                <a:tc>
                  <a:txBody>
                    <a:bodyPr/>
                    <a:lstStyle/>
                    <a:p>
                      <a:r>
                        <a:rPr lang="de-CH" sz="2400" b="1" dirty="0"/>
                        <a:t>languages - best</a:t>
                      </a:r>
                      <a:br>
                        <a:rPr lang="de-CH" sz="2400" b="1" dirty="0"/>
                      </a:br>
                      <a:r>
                        <a:rPr lang="de-CH" sz="2400" b="1" dirty="0"/>
                        <a:t>+</a:t>
                      </a:r>
                      <a:r>
                        <a:rPr lang="de-CH" sz="2000" b="0" dirty="0"/>
                        <a:t> find</a:t>
                      </a:r>
                      <a:r>
                        <a:rPr lang="de-CH" sz="2000" b="0" baseline="0" dirty="0"/>
                        <a:t> all refs, refactoring</a:t>
                      </a:r>
                      <a:endParaRPr lang="de-CH" sz="2400" b="1" dirty="0"/>
                    </a:p>
                  </a:txBody>
                  <a:tcPr marL="89642" marR="89642" marT="44821" marB="44821">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de-CH" sz="2400" dirty="0"/>
                        <a:t>C#</a:t>
                      </a:r>
                      <a:r>
                        <a:rPr lang="de-CH" sz="2400" baseline="0" dirty="0"/>
                        <a:t>, </a:t>
                      </a:r>
                      <a:r>
                        <a:rPr lang="de-CH" sz="2400" dirty="0"/>
                        <a:t>TypeScript</a:t>
                      </a:r>
                    </a:p>
                  </a:txBody>
                  <a:tcPr marL="89642" marR="89642" marT="44821" marB="44821">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3"/>
                  </a:ext>
                </a:extLst>
              </a:tr>
              <a:tr h="726518">
                <a:tc>
                  <a:txBody>
                    <a:bodyPr/>
                    <a:lstStyle/>
                    <a:p>
                      <a:r>
                        <a:rPr lang="de-CH" sz="2400" b="1" dirty="0"/>
                        <a:t>source control</a:t>
                      </a:r>
                    </a:p>
                  </a:txBody>
                  <a:tcPr marL="89642" marR="89642" marT="44821" marB="44821">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2400" dirty="0"/>
                        <a:t>git</a:t>
                      </a:r>
                    </a:p>
                  </a:txBody>
                  <a:tcPr marL="89642" marR="89642" marT="44821" marB="44821">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726518">
                <a:tc>
                  <a:txBody>
                    <a:bodyPr/>
                    <a:lstStyle/>
                    <a:p>
                      <a:r>
                        <a:rPr lang="de-CH" sz="2400" b="1" dirty="0"/>
                        <a:t>task running</a:t>
                      </a:r>
                    </a:p>
                  </a:txBody>
                  <a:tcPr marL="89642" marR="89642" marT="44821" marB="44821">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de-CH" sz="2400" dirty="0"/>
                        <a:t>gulp, </a:t>
                      </a:r>
                      <a:r>
                        <a:rPr lang="de-CH" sz="2400" i="1" dirty="0"/>
                        <a:t>grunt</a:t>
                      </a:r>
                      <a:r>
                        <a:rPr lang="de-CH" sz="2400" dirty="0"/>
                        <a:t> ...</a:t>
                      </a:r>
                    </a:p>
                  </a:txBody>
                  <a:tcPr marL="89642" marR="89642" marT="44821" marB="44821">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2" name="Rectangle 1"/>
          <p:cNvSpPr/>
          <p:nvPr/>
        </p:nvSpPr>
        <p:spPr>
          <a:xfrm>
            <a:off x="9592116" y="1189494"/>
            <a:ext cx="2069990" cy="363946"/>
          </a:xfrm>
          <a:prstGeom prst="rect">
            <a:avLst/>
          </a:prstGeom>
        </p:spPr>
        <p:txBody>
          <a:bodyPr wrap="none">
            <a:spAutoFit/>
          </a:bodyPr>
          <a:lstStyle/>
          <a:p>
            <a:pPr defTabSz="914367" latinLnBrk="0"/>
            <a:r>
              <a:rPr lang="de-CH" sz="1765" b="1" dirty="0">
                <a:solidFill>
                  <a:srgbClr val="00B294">
                    <a:lumMod val="75000"/>
                  </a:srgbClr>
                </a:solidFill>
              </a:rPr>
              <a:t>*</a:t>
            </a:r>
            <a:r>
              <a:rPr lang="de-CH" sz="1765" b="1" dirty="0">
                <a:solidFill>
                  <a:srgbClr val="404040"/>
                </a:solidFill>
              </a:rPr>
              <a:t> state as of preview</a:t>
            </a:r>
            <a:endParaRPr lang="de-CH" sz="1765" dirty="0">
              <a:solidFill>
                <a:srgbClr val="404040"/>
              </a:solidFill>
            </a:endParaRPr>
          </a:p>
        </p:txBody>
      </p:sp>
    </p:spTree>
    <p:extLst>
      <p:ext uri="{BB962C8B-B14F-4D97-AF65-F5344CB8AC3E}">
        <p14:creationId xmlns:p14="http://schemas.microsoft.com/office/powerpoint/2010/main" val="134430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 y="1019818"/>
            <a:ext cx="12192002" cy="4339102"/>
          </a:xfrm>
          <a:prstGeom prst="rect">
            <a:avLst/>
          </a:prstGeom>
        </p:spPr>
      </p:pic>
      <p:sp>
        <p:nvSpPr>
          <p:cNvPr id="11" name="Rectangle 10"/>
          <p:cNvSpPr/>
          <p:nvPr/>
        </p:nvSpPr>
        <p:spPr bwMode="auto">
          <a:xfrm>
            <a:off x="-2" y="486"/>
            <a:ext cx="12192002" cy="1019331"/>
          </a:xfrm>
          <a:prstGeom prst="rect">
            <a:avLst/>
          </a:prstGeom>
          <a:solidFill>
            <a:srgbClr val="A5E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de-CH"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6082" y="5358920"/>
            <a:ext cx="12208082" cy="1498594"/>
          </a:xfrm>
          <a:prstGeom prst="rect">
            <a:avLst/>
          </a:prstGeom>
          <a:solidFill>
            <a:srgbClr val="A5E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latinLnBrk="0">
              <a:lnSpc>
                <a:spcPct val="90000"/>
              </a:lnSpc>
              <a:spcBef>
                <a:spcPct val="0"/>
              </a:spcBef>
              <a:spcAft>
                <a:spcPct val="0"/>
              </a:spcAft>
            </a:pPr>
            <a:endParaRPr lang="de-CH" sz="2353" dirty="0">
              <a:solidFill>
                <a:srgbClr val="1F868A"/>
              </a:solidFill>
              <a:ea typeface="Segoe UI" pitchFamily="34" charset="0"/>
              <a:cs typeface="Segoe UI" pitchFamily="34" charset="0"/>
            </a:endParaRPr>
          </a:p>
        </p:txBody>
      </p:sp>
      <p:sp>
        <p:nvSpPr>
          <p:cNvPr id="2" name="Rectangle 1"/>
          <p:cNvSpPr/>
          <p:nvPr/>
        </p:nvSpPr>
        <p:spPr>
          <a:xfrm>
            <a:off x="2778154" y="5546774"/>
            <a:ext cx="6988655" cy="742246"/>
          </a:xfrm>
          <a:prstGeom prst="rect">
            <a:avLst/>
          </a:prstGeom>
        </p:spPr>
        <p:txBody>
          <a:bodyPr wrap="square">
            <a:spAutoFit/>
          </a:bodyPr>
          <a:lstStyle/>
          <a:p>
            <a:pPr algn="ctr" defTabSz="914102" fontAlgn="base" latinLnBrk="0">
              <a:lnSpc>
                <a:spcPct val="90000"/>
              </a:lnSpc>
              <a:spcBef>
                <a:spcPct val="0"/>
              </a:spcBef>
              <a:spcAft>
                <a:spcPct val="0"/>
              </a:spcAft>
            </a:pPr>
            <a:r>
              <a:rPr lang="de-CH" sz="2353" dirty="0">
                <a:solidFill>
                  <a:srgbClr val="1F868A"/>
                </a:solidFill>
                <a:ea typeface="Segoe UI" pitchFamily="34" charset="0"/>
                <a:cs typeface="Segoe UI" pitchFamily="34" charset="0"/>
              </a:rPr>
              <a:t>+ </a:t>
            </a:r>
            <a:r>
              <a:rPr lang="de-CH" sz="2353" b="1" dirty="0">
                <a:solidFill>
                  <a:srgbClr val="1F868A"/>
                </a:solidFill>
                <a:ea typeface="Segoe UI" pitchFamily="34" charset="0"/>
                <a:cs typeface="Segoe UI" pitchFamily="34" charset="0"/>
              </a:rPr>
              <a:t>Squirrel</a:t>
            </a:r>
            <a:r>
              <a:rPr lang="de-CH" sz="2353" dirty="0">
                <a:solidFill>
                  <a:srgbClr val="1F868A"/>
                </a:solidFill>
                <a:ea typeface="Segoe UI" pitchFamily="34" charset="0"/>
                <a:cs typeface="Segoe UI" pitchFamily="34" charset="0"/>
              </a:rPr>
              <a:t> for application updates</a:t>
            </a:r>
          </a:p>
          <a:p>
            <a:pPr algn="ctr" defTabSz="914102" fontAlgn="base" latinLnBrk="0">
              <a:lnSpc>
                <a:spcPct val="90000"/>
              </a:lnSpc>
              <a:spcBef>
                <a:spcPct val="0"/>
              </a:spcBef>
              <a:spcAft>
                <a:spcPct val="0"/>
              </a:spcAft>
            </a:pPr>
            <a:r>
              <a:rPr lang="de-CH" sz="2353" dirty="0">
                <a:solidFill>
                  <a:srgbClr val="1F868A"/>
                </a:solidFill>
                <a:ea typeface="Segoe UI" pitchFamily="34" charset="0"/>
                <a:cs typeface="Segoe UI" pitchFamily="34" charset="0"/>
              </a:rPr>
              <a:t>+ </a:t>
            </a:r>
            <a:r>
              <a:rPr lang="de-CH" sz="2353" b="1" dirty="0">
                <a:solidFill>
                  <a:srgbClr val="1F868A"/>
                </a:solidFill>
                <a:ea typeface="Segoe UI" pitchFamily="34" charset="0"/>
                <a:cs typeface="Segoe UI" pitchFamily="34" charset="0"/>
              </a:rPr>
              <a:t>FirstMate</a:t>
            </a:r>
            <a:r>
              <a:rPr lang="de-CH" sz="2353" dirty="0">
                <a:solidFill>
                  <a:srgbClr val="1F868A"/>
                </a:solidFill>
                <a:ea typeface="Segoe UI" pitchFamily="34" charset="0"/>
                <a:cs typeface="Segoe UI" pitchFamily="34" charset="0"/>
              </a:rPr>
              <a:t> for TextMate syntax bundle support</a:t>
            </a:r>
          </a:p>
        </p:txBody>
      </p:sp>
    </p:spTree>
    <p:extLst>
      <p:ext uri="{BB962C8B-B14F-4D97-AF65-F5344CB8AC3E}">
        <p14:creationId xmlns:p14="http://schemas.microsoft.com/office/powerpoint/2010/main" val="17124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 y="486"/>
            <a:ext cx="12192002" cy="6181621"/>
          </a:xfrm>
          <a:prstGeom prst="rect">
            <a:avLst/>
          </a:prstGeom>
          <a:solidFill>
            <a:srgbClr val="A5E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de-CH"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 y="5383452"/>
            <a:ext cx="12192002" cy="1474063"/>
          </a:xfrm>
          <a:prstGeom prst="rect">
            <a:avLst/>
          </a:prstGeom>
          <a:solidFill>
            <a:srgbClr val="A5E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de-CH"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a:stretch>
            <a:fillRect/>
          </a:stretch>
        </p:blipFill>
        <p:spPr>
          <a:xfrm>
            <a:off x="236825" y="605301"/>
            <a:ext cx="5350363" cy="5294436"/>
          </a:xfrm>
          <a:prstGeom prst="rect">
            <a:avLst/>
          </a:prstGeom>
        </p:spPr>
      </p:pic>
      <p:pic>
        <p:nvPicPr>
          <p:cNvPr id="12" name="Picture 11"/>
          <p:cNvPicPr>
            <a:picLocks noChangeAspect="1"/>
          </p:cNvPicPr>
          <p:nvPr/>
        </p:nvPicPr>
        <p:blipFill>
          <a:blip r:embed="rId4"/>
          <a:stretch>
            <a:fillRect/>
          </a:stretch>
        </p:blipFill>
        <p:spPr>
          <a:xfrm>
            <a:off x="6378370" y="655856"/>
            <a:ext cx="4603176" cy="5198263"/>
          </a:xfrm>
          <a:prstGeom prst="rect">
            <a:avLst/>
          </a:prstGeom>
        </p:spPr>
      </p:pic>
    </p:spTree>
    <p:extLst>
      <p:ext uri="{BB962C8B-B14F-4D97-AF65-F5344CB8AC3E}">
        <p14:creationId xmlns:p14="http://schemas.microsoft.com/office/powerpoint/2010/main" val="135766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1.xml.rels><?xml version="1.0" encoding="UTF-8" standalone="yes"?>
<Relationships xmlns="http://schemas.openxmlformats.org/package/2006/relationships"><Relationship Id="rId1" Type="http://schemas.openxmlformats.org/officeDocument/2006/relationships/image" Target="../media/image77.png"/></Relationships>
</file>

<file path=ppt/theme/theme1.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0.xml><?xml version="1.0" encoding="utf-8"?>
<a:theme xmlns:a="http://schemas.openxmlformats.org/drawingml/2006/main" name="Тема Office">
  <a:themeElements>
    <a:clrScheme name="Другая 1">
      <a:dk1>
        <a:srgbClr val="060F18"/>
      </a:dk1>
      <a:lt1>
        <a:srgbClr val="FFFFFF"/>
      </a:lt1>
      <a:dk2>
        <a:srgbClr val="27282A"/>
      </a:dk2>
      <a:lt2>
        <a:srgbClr val="64BC46"/>
      </a:lt2>
      <a:accent1>
        <a:srgbClr val="55A51C"/>
      </a:accent1>
      <a:accent2>
        <a:srgbClr val="FF9630"/>
      </a:accent2>
      <a:accent3>
        <a:srgbClr val="02AED9"/>
      </a:accent3>
      <a:accent4>
        <a:srgbClr val="B20ECA"/>
      </a:accent4>
      <a:accent5>
        <a:srgbClr val="FB4040"/>
      </a:accent5>
      <a:accent6>
        <a:srgbClr val="0A70C7"/>
      </a:accent6>
      <a:hlink>
        <a:srgbClr val="0085CF"/>
      </a:hlink>
      <a:folHlink>
        <a:srgbClr val="C13832"/>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1_MSVID_Purple269_16x9_2012-08-18">
  <a:themeElements>
    <a:clrScheme name="Custom 13">
      <a:dk1>
        <a:srgbClr val="000000"/>
      </a:dk1>
      <a:lt1>
        <a:srgbClr val="FFFFFF"/>
      </a:lt1>
      <a:dk2>
        <a:srgbClr val="02163E"/>
      </a:dk2>
      <a:lt2>
        <a:srgbClr val="FFFFFF"/>
      </a:lt2>
      <a:accent1>
        <a:srgbClr val="540F67"/>
      </a:accent1>
      <a:accent2>
        <a:srgbClr val="883884"/>
      </a:accent2>
      <a:accent3>
        <a:srgbClr val="331747"/>
      </a:accent3>
      <a:accent4>
        <a:srgbClr val="3650B8"/>
      </a:accent4>
      <a:accent5>
        <a:srgbClr val="00027C"/>
      </a:accent5>
      <a:accent6>
        <a:srgbClr val="02163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14.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4.xml><?xml version="1.0" encoding="utf-8"?>
<a:theme xmlns:a="http://schemas.openxmlformats.org/drawingml/2006/main" name="Windows Azure Template Feb 2010">
  <a:themeElements>
    <a:clrScheme name="Windows Azure Dark Template">
      <a:dk1>
        <a:srgbClr val="000000"/>
      </a:dk1>
      <a:lt1>
        <a:srgbClr val="FFFFFF"/>
      </a:lt1>
      <a:dk2>
        <a:srgbClr val="16A5D9"/>
      </a:dk2>
      <a:lt2>
        <a:srgbClr val="AFFAFA"/>
      </a:lt2>
      <a:accent1>
        <a:srgbClr val="D7FEFD"/>
      </a:accent1>
      <a:accent2>
        <a:srgbClr val="FE5815"/>
      </a:accent2>
      <a:accent3>
        <a:srgbClr val="323232"/>
      </a:accent3>
      <a:accent4>
        <a:srgbClr val="5CC151"/>
      </a:accent4>
      <a:accent5>
        <a:srgbClr val="B8B8B8"/>
      </a:accent5>
      <a:accent6>
        <a:srgbClr val="DAF40A"/>
      </a:accent6>
      <a:hlink>
        <a:srgbClr val="AFFAFA"/>
      </a:hlink>
      <a:folHlink>
        <a:srgbClr val="AFFAFA"/>
      </a:folHlink>
    </a:clrScheme>
    <a:fontScheme name="Segoe UI">
      <a:majorFont>
        <a:latin typeface="Segoe UI"/>
        <a:ea typeface=""/>
        <a:cs typeface=""/>
      </a:majorFont>
      <a:minorFont>
        <a:latin typeface="Segoe UI"/>
        <a:ea typeface=""/>
        <a:cs typeface=""/>
      </a:minorFont>
    </a:fontScheme>
    <a:fmtScheme name="Verve">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0800" dist="38100" dir="14700000" algn="t" rotWithShape="0">
              <a:srgbClr val="000000">
                <a:alpha val="60000"/>
              </a:srgbClr>
            </a:outerShdw>
          </a:effectLst>
          <a:scene3d>
            <a:camera prst="orthographicFront" fov="0">
              <a:rot lat="0" lon="0" rev="0"/>
            </a:camera>
            <a:lightRig rig="contrasting" dir="t">
              <a:rot lat="0" lon="0" rev="3600000"/>
            </a:lightRig>
          </a:scene3d>
          <a:sp3d prstMaterial="plastic">
            <a:bevelT w="127000" h="38200" prst="relaxedInset"/>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a:spPr>
      <a:bodyPr vert="horz" wrap="square" lIns="91436" tIns="45718" rIns="91436" bIns="45718" numCol="1" rtlCol="0" anchor="ctr" anchorCtr="0" compatLnSpc="1">
        <a:prstTxWarp prst="textNoShape">
          <a:avLst/>
        </a:prstTxWarp>
      </a:bodyPr>
      <a:lstStyle>
        <a:defPPr algn="ctr" defTabSz="914099">
          <a:defRPr sz="2400" spc="-50" dirty="0" smtClean="0">
            <a:gradFill>
              <a:gsLst>
                <a:gs pos="0">
                  <a:srgbClr val="000000"/>
                </a:gs>
                <a:gs pos="100000">
                  <a:srgbClr val="000000"/>
                </a:gs>
              </a:gsLst>
              <a:lin ang="5400000" scaled="0"/>
            </a:gradFill>
          </a:defRPr>
        </a:defPPr>
      </a:lstStyle>
      <a:style>
        <a:lnRef idx="0">
          <a:schemeClr val="accent1"/>
        </a:lnRef>
        <a:fillRef idx="3">
          <a:schemeClr val="accent1"/>
        </a:fillRef>
        <a:effectRef idx="3">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effectLst>
              <a:outerShdw blurRad="63500" algn="ctr" rotWithShape="0">
                <a:schemeClr val="tx1">
                  <a:alpha val="60000"/>
                </a:schemeClr>
              </a:outerShdw>
            </a:effectLst>
          </a:defRPr>
        </a:defPPr>
      </a:lstStyle>
    </a:txDef>
  </a:objectDefaults>
  <a:extraClrSchemeLst/>
</a:theme>
</file>

<file path=ppt/theme/theme5.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MSVID_Purple269_16x9_2012-08-18">
  <a:themeElements>
    <a:clrScheme name="Custom 13">
      <a:dk1>
        <a:srgbClr val="000000"/>
      </a:dk1>
      <a:lt1>
        <a:srgbClr val="FFFFFF"/>
      </a:lt1>
      <a:dk2>
        <a:srgbClr val="02163E"/>
      </a:dk2>
      <a:lt2>
        <a:srgbClr val="FFFFFF"/>
      </a:lt2>
      <a:accent1>
        <a:srgbClr val="540F67"/>
      </a:accent1>
      <a:accent2>
        <a:srgbClr val="883884"/>
      </a:accent2>
      <a:accent3>
        <a:srgbClr val="331747"/>
      </a:accent3>
      <a:accent4>
        <a:srgbClr val="3650B8"/>
      </a:accent4>
      <a:accent5>
        <a:srgbClr val="00027C"/>
      </a:accent5>
      <a:accent6>
        <a:srgbClr val="02163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8.xml><?xml version="1.0" encoding="utf-8"?>
<a:theme xmlns:a="http://schemas.openxmlformats.org/drawingml/2006/main" name="Microsoft_Brand_template_16-9_WHITE_Teal_accent_2013">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9.xml><?xml version="1.0" encoding="utf-8"?>
<a:theme xmlns:a="http://schemas.openxmlformats.org/drawingml/2006/main" name="6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08</TotalTime>
  <Words>1881</Words>
  <Application>Microsoft Office PowerPoint</Application>
  <PresentationFormat>와이드스크린</PresentationFormat>
  <Paragraphs>194</Paragraphs>
  <Slides>19</Slides>
  <Notes>17</Notes>
  <HiddenSlides>0</HiddenSlides>
  <MMClips>0</MMClips>
  <ScaleCrop>false</ScaleCrop>
  <HeadingPairs>
    <vt:vector size="8" baseType="variant">
      <vt:variant>
        <vt:lpstr>사용한 글꼴</vt:lpstr>
      </vt:variant>
      <vt:variant>
        <vt:i4>11</vt:i4>
      </vt:variant>
      <vt:variant>
        <vt:lpstr>테마</vt:lpstr>
      </vt:variant>
      <vt:variant>
        <vt:i4>13</vt:i4>
      </vt:variant>
      <vt:variant>
        <vt:lpstr>포함된 OLE 서버</vt:lpstr>
      </vt:variant>
      <vt:variant>
        <vt:i4>1</vt:i4>
      </vt:variant>
      <vt:variant>
        <vt:lpstr>슬라이드 제목</vt:lpstr>
      </vt:variant>
      <vt:variant>
        <vt:i4>19</vt:i4>
      </vt:variant>
    </vt:vector>
  </HeadingPairs>
  <TitlesOfParts>
    <vt:vector size="44" baseType="lpstr">
      <vt:lpstr>Avenir LT Pro 45 Book</vt:lpstr>
      <vt:lpstr>ＭＳ Ｐゴシック</vt:lpstr>
      <vt:lpstr>Segoe</vt:lpstr>
      <vt:lpstr>맑은 고딕</vt:lpstr>
      <vt:lpstr>Arial</vt:lpstr>
      <vt:lpstr>Calibri</vt:lpstr>
      <vt:lpstr>Consolas</vt:lpstr>
      <vt:lpstr>Segoe UI</vt:lpstr>
      <vt:lpstr>Segoe UI Light</vt:lpstr>
      <vt:lpstr>Times New Roman</vt:lpstr>
      <vt:lpstr>Wingdings</vt:lpstr>
      <vt:lpstr>MGXFY15 GS Template - white layout</vt:lpstr>
      <vt:lpstr>8_3-30070_Windows_Server_Management_Marketing_Template_16x9</vt:lpstr>
      <vt:lpstr>WHITE TEMPLATE</vt:lpstr>
      <vt:lpstr>Windows Azure Template Feb 2010</vt:lpstr>
      <vt:lpstr>1_COLOR TEMPLATE</vt:lpstr>
      <vt:lpstr>MSVID_Purple269_16x9_2012-08-18</vt:lpstr>
      <vt:lpstr>Openess 16-9_June-2014</vt:lpstr>
      <vt:lpstr>Microsoft_Brand_template_16-9_WHITE_Teal_accent_2013</vt:lpstr>
      <vt:lpstr>6_IOYT Theme INDUSTRY 2015</vt:lpstr>
      <vt:lpstr>Тема Office</vt:lpstr>
      <vt:lpstr>MS1444_Windows Azure Template 16x9_r08a</vt:lpstr>
      <vt:lpstr>1_MSVID_Purple269_16x9_2012-08-18</vt:lpstr>
      <vt:lpstr>5-30629_Build_Template_WHITE</vt:lpstr>
      <vt:lpstr>think-cell Slide</vt:lpstr>
      <vt:lpstr>PowerPoint 프레젠테이션</vt:lpstr>
      <vt:lpstr>PowerPoint 프레젠테이션</vt:lpstr>
      <vt:lpstr>Visual Studio Code A deep dive on the code editor for OS X, Linux and Windows</vt:lpstr>
      <vt:lpstr>PowerPoint 프레젠테이션</vt:lpstr>
      <vt:lpstr>PowerPoint 프레젠테이션</vt:lpstr>
      <vt:lpstr>Visual Studio Code a new choice of tool that combines the simplicity of a code editor with what developers need for their code-edit-debug cycle.</vt:lpstr>
      <vt:lpstr>Visual Studio Code</vt:lpstr>
      <vt:lpstr>PowerPoint 프레젠테이션</vt:lpstr>
      <vt:lpstr>PowerPoint 프레젠테이션</vt:lpstr>
      <vt:lpstr>Monaco Editor</vt:lpstr>
      <vt:lpstr>PowerPoint 프레젠테이션</vt:lpstr>
      <vt:lpstr>PowerPoint 프레젠테이션</vt:lpstr>
      <vt:lpstr>PowerPoint 프레젠테이션</vt:lpstr>
      <vt:lpstr>PowerPoint 프레젠테이션</vt:lpstr>
      <vt:lpstr>Tools Service Architecture</vt:lpstr>
      <vt:lpstr>Protocols</vt:lpstr>
      <vt:lpstr>Call to Action</vt:lpstr>
      <vt:lpstr>Resources</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클라우드 이해하기</dc:title>
  <dc:creator>Young Wook Kim</dc:creator>
  <cp:lastModifiedBy>Young Wook Kim</cp:lastModifiedBy>
  <cp:revision>32</cp:revision>
  <dcterms:created xsi:type="dcterms:W3CDTF">2015-12-07T16:33:43Z</dcterms:created>
  <dcterms:modified xsi:type="dcterms:W3CDTF">2016-09-22T00:10:37Z</dcterms:modified>
</cp:coreProperties>
</file>